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0.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4"/>
  </p:notesMasterIdLst>
  <p:handoutMasterIdLst>
    <p:handoutMasterId r:id="rId15"/>
  </p:handoutMasterIdLst>
  <p:sldIdLst>
    <p:sldId id="532" r:id="rId2"/>
    <p:sldId id="533" r:id="rId3"/>
    <p:sldId id="534" r:id="rId4"/>
    <p:sldId id="490" r:id="rId5"/>
    <p:sldId id="492" r:id="rId6"/>
    <p:sldId id="535" r:id="rId7"/>
    <p:sldId id="448" r:id="rId8"/>
    <p:sldId id="449" r:id="rId9"/>
    <p:sldId id="531" r:id="rId10"/>
    <p:sldId id="500" r:id="rId11"/>
    <p:sldId id="536" r:id="rId12"/>
    <p:sldId id="537" r:id="rId13"/>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57" autoAdjust="0"/>
    <p:restoredTop sz="80272" autoAdjust="0"/>
  </p:normalViewPr>
  <p:slideViewPr>
    <p:cSldViewPr>
      <p:cViewPr varScale="1">
        <p:scale>
          <a:sx n="94" d="100"/>
          <a:sy n="94" d="100"/>
        </p:scale>
        <p:origin x="208" y="352"/>
      </p:cViewPr>
      <p:guideLst>
        <p:guide orient="horz" pos="2160"/>
        <p:guide pos="3839"/>
      </p:guideLst>
    </p:cSldViewPr>
  </p:slideViewPr>
  <p:outlineViewPr>
    <p:cViewPr>
      <p:scale>
        <a:sx n="33" d="100"/>
        <a:sy n="33" d="100"/>
      </p:scale>
      <p:origin x="0" y="0"/>
    </p:cViewPr>
  </p:outlineViewPr>
  <p:notesTextViewPr>
    <p:cViewPr>
      <p:scale>
        <a:sx n="1" d="1"/>
        <a:sy n="1" d="1"/>
      </p:scale>
      <p:origin x="0" y="-48"/>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In this Chapt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8F67694-0BAD-4EA6-9C61-873CF2826E85}">
      <dgm:prSet/>
      <dgm:spPr/>
      <dgm:t>
        <a:bodyPr/>
        <a:lstStyle/>
        <a:p>
          <a:pPr rtl="0"/>
          <a:r>
            <a:rPr lang="en-CA" dirty="0"/>
            <a:t>file template</a:t>
          </a:r>
        </a:p>
      </dgm:t>
    </dgm:pt>
    <dgm:pt modelId="{DD0C60F8-EA9F-4910-99A6-33A1D1C67178}" type="parTrans" cxnId="{CEE62FF6-3383-4B80-872B-7C9EC927D3B6}">
      <dgm:prSet/>
      <dgm:spPr/>
      <dgm:t>
        <a:bodyPr/>
        <a:lstStyle/>
        <a:p>
          <a:endParaRPr lang="en-US"/>
        </a:p>
      </dgm:t>
    </dgm:pt>
    <dgm:pt modelId="{CC885E32-725D-43A9-88B3-EDBE2AAE1F86}" type="sibTrans" cxnId="{CEE62FF6-3383-4B80-872B-7C9EC927D3B6}">
      <dgm:prSet/>
      <dgm:spPr/>
      <dgm:t>
        <a:bodyPr/>
        <a:lstStyle/>
        <a:p>
          <a:endParaRPr lang="en-US"/>
        </a:p>
      </dgm:t>
    </dgm:pt>
    <dgm:pt modelId="{12182436-8CD8-4832-9F71-D0917FDEB3D0}">
      <dgm:prSet/>
      <dgm:spPr/>
      <dgm:t>
        <a:bodyPr/>
        <a:lstStyle/>
        <a:p>
          <a:pPr rtl="0"/>
          <a:r>
            <a:rPr lang="en-CA" dirty="0"/>
            <a:t>HyperDocs</a:t>
          </a:r>
        </a:p>
      </dgm:t>
    </dgm:pt>
    <dgm:pt modelId="{FDB9703C-7C6E-4478-85ED-D31B2D5311B5}" type="parTrans" cxnId="{225F66C4-A991-43E0-9B9C-B602424F88D4}">
      <dgm:prSet/>
      <dgm:spPr/>
      <dgm:t>
        <a:bodyPr/>
        <a:lstStyle/>
        <a:p>
          <a:endParaRPr lang="en-US"/>
        </a:p>
      </dgm:t>
    </dgm:pt>
    <dgm:pt modelId="{FEC0E547-E09B-4D36-8A38-AC2DA0604A08}" type="sibTrans" cxnId="{225F66C4-A991-43E0-9B9C-B602424F88D4}">
      <dgm:prSet/>
      <dgm:spPr/>
      <dgm:t>
        <a:bodyPr/>
        <a:lstStyle/>
        <a:p>
          <a:endParaRPr lang="en-US"/>
        </a:p>
      </dgm:t>
    </dgm:pt>
    <dgm:pt modelId="{70D6520E-2D83-7642-8813-A0947D86170A}">
      <dgm:prSet/>
      <dgm:spPr/>
      <dgm:t>
        <a:bodyPr/>
        <a:lstStyle/>
        <a:p>
          <a:pPr rtl="0"/>
          <a:r>
            <a:rPr lang="en-CA" dirty="0"/>
            <a:t>T1PAD</a:t>
          </a:r>
        </a:p>
      </dgm:t>
    </dgm:pt>
    <dgm:pt modelId="{F9578D9A-9E8B-CC42-B5F6-BA0B770F8FA0}" type="parTrans" cxnId="{25E8D224-A22C-CB4D-BD24-6961FCEFB3A0}">
      <dgm:prSet/>
      <dgm:spPr/>
      <dgm:t>
        <a:bodyPr/>
        <a:lstStyle/>
        <a:p>
          <a:endParaRPr lang="en-CA"/>
        </a:p>
      </dgm:t>
    </dgm:pt>
    <dgm:pt modelId="{1AC033CC-ACEF-1A4F-868F-B5ACB3BC2819}" type="sibTrans" cxnId="{25E8D224-A22C-CB4D-BD24-6961FCEFB3A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custScaleX="214487">
        <dgm:presLayoutVars>
          <dgm:chMax val="1"/>
          <dgm:bulletEnabled val="1"/>
        </dgm:presLayoutVars>
      </dgm:prSet>
      <dgm:spPr/>
    </dgm:pt>
    <dgm:pt modelId="{96B25C73-5C82-454A-AF23-58BAC3E61242}" type="pres">
      <dgm:prSet presAssocID="{CF0461F7-EC97-BB41-A574-9C1E3009EACC}" presName="descendantText" presStyleLbl="alignAccFollowNode1" presStyleIdx="0" presStyleCnt="1">
        <dgm:presLayoutVars>
          <dgm:bulletEnabled val="1"/>
        </dgm:presLayoutVars>
      </dgm:prSet>
      <dgm:spPr/>
    </dgm:pt>
  </dgm:ptLst>
  <dgm:cxnLst>
    <dgm:cxn modelId="{25E8D224-A22C-CB4D-BD24-6961FCEFB3A0}" srcId="{CF0461F7-EC97-BB41-A574-9C1E3009EACC}" destId="{70D6520E-2D83-7642-8813-A0947D86170A}" srcOrd="2" destOrd="0" parTransId="{F9578D9A-9E8B-CC42-B5F6-BA0B770F8FA0}" sibTransId="{1AC033CC-ACEF-1A4F-868F-B5ACB3BC2819}"/>
    <dgm:cxn modelId="{674D6C8A-30E6-564D-9142-120BB4D947A9}" srcId="{02BA0D8E-884F-D545-BFF7-95207C181DAB}" destId="{CF0461F7-EC97-BB41-A574-9C1E3009EACC}" srcOrd="0" destOrd="0" parTransId="{B2C709E6-0566-4D4E-97EA-2EBE699D701F}" sibTransId="{ABC1C475-5434-1B41-BC48-ADC728C8CBF7}"/>
    <dgm:cxn modelId="{EA26DFAF-B91B-7846-9D36-C9B3D215BA11}" type="presOf" srcId="{70D6520E-2D83-7642-8813-A0947D86170A}" destId="{96B25C73-5C82-454A-AF23-58BAC3E61242}" srcOrd="0" destOrd="2" presId="urn:microsoft.com/office/officeart/2005/8/layout/vList5"/>
    <dgm:cxn modelId="{41B8F1B6-425C-7040-9450-1B864D828345}" type="presOf" srcId="{CF0461F7-EC97-BB41-A574-9C1E3009EACC}" destId="{43DEFE45-1517-3942-920E-48C520E9C0B4}" srcOrd="0" destOrd="0" presId="urn:microsoft.com/office/officeart/2005/8/layout/vList5"/>
    <dgm:cxn modelId="{225F66C4-A991-43E0-9B9C-B602424F88D4}" srcId="{CF0461F7-EC97-BB41-A574-9C1E3009EACC}" destId="{12182436-8CD8-4832-9F71-D0917FDEB3D0}" srcOrd="1" destOrd="0" parTransId="{FDB9703C-7C6E-4478-85ED-D31B2D5311B5}" sibTransId="{FEC0E547-E09B-4D36-8A38-AC2DA0604A08}"/>
    <dgm:cxn modelId="{EC8A03D1-5A39-7D45-A241-EAC9C645D1A9}" type="presOf" srcId="{98F67694-0BAD-4EA6-9C61-873CF2826E85}" destId="{96B25C73-5C82-454A-AF23-58BAC3E61242}" srcOrd="0" destOrd="0" presId="urn:microsoft.com/office/officeart/2005/8/layout/vList5"/>
    <dgm:cxn modelId="{90CF27D1-9436-CA49-BEF5-E1ECB6C64A16}" type="presOf" srcId="{12182436-8CD8-4832-9F71-D0917FDEB3D0}" destId="{96B25C73-5C82-454A-AF23-58BAC3E61242}" srcOrd="0" destOrd="1" presId="urn:microsoft.com/office/officeart/2005/8/layout/vList5"/>
    <dgm:cxn modelId="{830457EA-4830-6849-B056-5DAFA7AC888A}" type="presOf" srcId="{02BA0D8E-884F-D545-BFF7-95207C181DAB}" destId="{5325FF06-BE85-6742-9495-B8F42BFC9B7F}" srcOrd="0" destOrd="0" presId="urn:microsoft.com/office/officeart/2005/8/layout/vList5"/>
    <dgm:cxn modelId="{CEE62FF6-3383-4B80-872B-7C9EC927D3B6}" srcId="{CF0461F7-EC97-BB41-A574-9C1E3009EACC}" destId="{98F67694-0BAD-4EA6-9C61-873CF2826E85}" srcOrd="0" destOrd="0" parTransId="{DD0C60F8-EA9F-4910-99A6-33A1D1C67178}" sibTransId="{CC885E32-725D-43A9-88B3-EDBE2AAE1F86}"/>
    <dgm:cxn modelId="{46A73CC5-0EF0-6340-A556-B24ADCB32365}" type="presParOf" srcId="{5325FF06-BE85-6742-9495-B8F42BFC9B7F}" destId="{29217676-BC9A-6F40-9378-16D87FA052B5}" srcOrd="0" destOrd="0" presId="urn:microsoft.com/office/officeart/2005/8/layout/vList5"/>
    <dgm:cxn modelId="{B8669F64-ECB9-7D4E-995B-7019B7F00E65}" type="presParOf" srcId="{29217676-BC9A-6F40-9378-16D87FA052B5}" destId="{43DEFE45-1517-3942-920E-48C520E9C0B4}" srcOrd="0" destOrd="0" presId="urn:microsoft.com/office/officeart/2005/8/layout/vList5"/>
    <dgm:cxn modelId="{32A867F6-4053-5945-A3E6-75F18724319B}" type="presParOf" srcId="{29217676-BC9A-6F40-9378-16D87FA052B5}" destId="{96B25C73-5C82-454A-AF23-58BAC3E6124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DEDEA1E-A791-ED43-B8F7-042878B392C2}"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US"/>
        </a:p>
      </dgm:t>
    </dgm:pt>
    <dgm:pt modelId="{CBAFF057-DFF4-9240-90C3-99C3358A915C}">
      <dgm:prSet/>
      <dgm:spPr/>
      <dgm:t>
        <a:bodyPr/>
        <a:lstStyle/>
        <a:p>
          <a:pPr rtl="0"/>
          <a:r>
            <a:rPr lang="en-US" dirty="0"/>
            <a:t>variance </a:t>
          </a:r>
          <a:r>
            <a:rPr lang="mr-IN" dirty="0"/>
            <a:t>–</a:t>
          </a:r>
          <a:r>
            <a:rPr lang="en-US" dirty="0"/>
            <a:t> how to</a:t>
          </a:r>
        </a:p>
      </dgm:t>
    </dgm:pt>
    <dgm:pt modelId="{16A61E8D-4669-804D-8DD2-EB890EAE0E39}" type="parTrans" cxnId="{829A2295-0A35-4D48-8E05-9AC7F5975828}">
      <dgm:prSet/>
      <dgm:spPr/>
      <dgm:t>
        <a:bodyPr/>
        <a:lstStyle/>
        <a:p>
          <a:endParaRPr lang="en-US"/>
        </a:p>
      </dgm:t>
    </dgm:pt>
    <dgm:pt modelId="{49A8A604-CDA3-A847-B394-C2992D2238DF}" type="sibTrans" cxnId="{829A2295-0A35-4D48-8E05-9AC7F5975828}">
      <dgm:prSet/>
      <dgm:spPr/>
      <dgm:t>
        <a:bodyPr/>
        <a:lstStyle/>
        <a:p>
          <a:endParaRPr lang="en-US"/>
        </a:p>
      </dgm:t>
    </dgm:pt>
    <dgm:pt modelId="{09677A40-7047-624F-997B-88EB161DF8D4}">
      <dgm:prSet/>
      <dgm:spPr/>
      <dgm:t>
        <a:bodyPr/>
        <a:lstStyle/>
        <a:p>
          <a:pPr rtl="0"/>
          <a:r>
            <a:rPr lang="en-US" dirty="0"/>
            <a:t>snapshot</a:t>
          </a:r>
        </a:p>
      </dgm:t>
    </dgm:pt>
    <dgm:pt modelId="{5FDDB3F7-675B-DE42-A68C-A8E95AA50004}" type="parTrans" cxnId="{5D003ECB-53FC-EC45-9576-9D664FBAF4B1}">
      <dgm:prSet/>
      <dgm:spPr/>
      <dgm:t>
        <a:bodyPr/>
        <a:lstStyle/>
        <a:p>
          <a:endParaRPr lang="en-US"/>
        </a:p>
      </dgm:t>
    </dgm:pt>
    <dgm:pt modelId="{F51C938F-CDF1-ED42-A2EF-960CC13EF03B}" type="sibTrans" cxnId="{5D003ECB-53FC-EC45-9576-9D664FBAF4B1}">
      <dgm:prSet/>
      <dgm:spPr/>
      <dgm:t>
        <a:bodyPr/>
        <a:lstStyle/>
        <a:p>
          <a:endParaRPr lang="en-US"/>
        </a:p>
      </dgm:t>
    </dgm:pt>
    <dgm:pt modelId="{B22DBAC5-31D0-C244-B9BC-FF5CAE5451EA}">
      <dgm:prSet/>
      <dgm:spPr/>
      <dgm:t>
        <a:bodyPr/>
        <a:lstStyle/>
        <a:p>
          <a:pPr rtl="0"/>
          <a:r>
            <a:rPr lang="en-US" dirty="0"/>
            <a:t>prior-year</a:t>
          </a:r>
        </a:p>
      </dgm:t>
    </dgm:pt>
    <dgm:pt modelId="{C8C73D3A-6F27-CF45-A5E7-9F554AC30604}" type="parTrans" cxnId="{8A4A6B00-0BBA-124A-9B25-008FFB473D9B}">
      <dgm:prSet/>
      <dgm:spPr/>
      <dgm:t>
        <a:bodyPr/>
        <a:lstStyle/>
        <a:p>
          <a:endParaRPr lang="en-US"/>
        </a:p>
      </dgm:t>
    </dgm:pt>
    <dgm:pt modelId="{215F2700-3CDE-6E43-BBA6-5A5AEC713524}" type="sibTrans" cxnId="{8A4A6B00-0BBA-124A-9B25-008FFB473D9B}">
      <dgm:prSet/>
      <dgm:spPr/>
      <dgm:t>
        <a:bodyPr/>
        <a:lstStyle/>
        <a:p>
          <a:endParaRPr lang="en-US"/>
        </a:p>
      </dgm:t>
    </dgm:pt>
    <dgm:pt modelId="{1C1CA45A-F793-6F43-8EE2-75C940693FE3}" type="pres">
      <dgm:prSet presAssocID="{6DEDEA1E-A791-ED43-B8F7-042878B392C2}" presName="Name0" presStyleCnt="0">
        <dgm:presLayoutVars>
          <dgm:dir/>
          <dgm:animLvl val="lvl"/>
          <dgm:resizeHandles val="exact"/>
        </dgm:presLayoutVars>
      </dgm:prSet>
      <dgm:spPr/>
    </dgm:pt>
    <dgm:pt modelId="{4137A109-99D0-1C40-8266-C373CB714877}" type="pres">
      <dgm:prSet presAssocID="{CBAFF057-DFF4-9240-90C3-99C3358A915C}" presName="linNode" presStyleCnt="0"/>
      <dgm:spPr/>
    </dgm:pt>
    <dgm:pt modelId="{B7868026-D99A-144F-B965-9EDF6935815D}" type="pres">
      <dgm:prSet presAssocID="{CBAFF057-DFF4-9240-90C3-99C3358A915C}" presName="parentText" presStyleLbl="node1" presStyleIdx="0" presStyleCnt="3">
        <dgm:presLayoutVars>
          <dgm:chMax val="1"/>
          <dgm:bulletEnabled val="1"/>
        </dgm:presLayoutVars>
      </dgm:prSet>
      <dgm:spPr/>
    </dgm:pt>
    <dgm:pt modelId="{4D4A27AE-46E7-3542-92ED-6008981EF56B}" type="pres">
      <dgm:prSet presAssocID="{49A8A604-CDA3-A847-B394-C2992D2238DF}" presName="sp" presStyleCnt="0"/>
      <dgm:spPr/>
    </dgm:pt>
    <dgm:pt modelId="{45D65901-1A7A-C74A-8CEE-0A0F7EF40781}" type="pres">
      <dgm:prSet presAssocID="{09677A40-7047-624F-997B-88EB161DF8D4}" presName="linNode" presStyleCnt="0"/>
      <dgm:spPr/>
    </dgm:pt>
    <dgm:pt modelId="{155758EF-131E-9D4F-B56F-E7669135FCE0}" type="pres">
      <dgm:prSet presAssocID="{09677A40-7047-624F-997B-88EB161DF8D4}" presName="parentText" presStyleLbl="node1" presStyleIdx="1" presStyleCnt="3">
        <dgm:presLayoutVars>
          <dgm:chMax val="1"/>
          <dgm:bulletEnabled val="1"/>
        </dgm:presLayoutVars>
      </dgm:prSet>
      <dgm:spPr/>
    </dgm:pt>
    <dgm:pt modelId="{E3F03283-9AE6-BE4C-A738-4CEF5D7E3405}" type="pres">
      <dgm:prSet presAssocID="{F51C938F-CDF1-ED42-A2EF-960CC13EF03B}" presName="sp" presStyleCnt="0"/>
      <dgm:spPr/>
    </dgm:pt>
    <dgm:pt modelId="{4B99EB12-55FB-7345-AE92-72E137F0A69C}" type="pres">
      <dgm:prSet presAssocID="{B22DBAC5-31D0-C244-B9BC-FF5CAE5451EA}" presName="linNode" presStyleCnt="0"/>
      <dgm:spPr/>
    </dgm:pt>
    <dgm:pt modelId="{DD2F5EE8-C013-164A-A2A2-07C862C73CF7}" type="pres">
      <dgm:prSet presAssocID="{B22DBAC5-31D0-C244-B9BC-FF5CAE5451EA}" presName="parentText" presStyleLbl="node1" presStyleIdx="2" presStyleCnt="3">
        <dgm:presLayoutVars>
          <dgm:chMax val="1"/>
          <dgm:bulletEnabled val="1"/>
        </dgm:presLayoutVars>
      </dgm:prSet>
      <dgm:spPr/>
    </dgm:pt>
  </dgm:ptLst>
  <dgm:cxnLst>
    <dgm:cxn modelId="{8A4A6B00-0BBA-124A-9B25-008FFB473D9B}" srcId="{6DEDEA1E-A791-ED43-B8F7-042878B392C2}" destId="{B22DBAC5-31D0-C244-B9BC-FF5CAE5451EA}" srcOrd="2" destOrd="0" parTransId="{C8C73D3A-6F27-CF45-A5E7-9F554AC30604}" sibTransId="{215F2700-3CDE-6E43-BBA6-5A5AEC713524}"/>
    <dgm:cxn modelId="{2BE9AC37-7358-D24F-8FFA-4D73F2264342}" type="presOf" srcId="{6DEDEA1E-A791-ED43-B8F7-042878B392C2}" destId="{1C1CA45A-F793-6F43-8EE2-75C940693FE3}" srcOrd="0" destOrd="0" presId="urn:microsoft.com/office/officeart/2005/8/layout/vList5"/>
    <dgm:cxn modelId="{BE5D1646-6994-0B4A-AFBE-CDE2AE5B4B04}" type="presOf" srcId="{CBAFF057-DFF4-9240-90C3-99C3358A915C}" destId="{B7868026-D99A-144F-B965-9EDF6935815D}" srcOrd="0" destOrd="0" presId="urn:microsoft.com/office/officeart/2005/8/layout/vList5"/>
    <dgm:cxn modelId="{59B1135F-D275-BE4B-82B7-4D05DBE41E83}" type="presOf" srcId="{B22DBAC5-31D0-C244-B9BC-FF5CAE5451EA}" destId="{DD2F5EE8-C013-164A-A2A2-07C862C73CF7}" srcOrd="0" destOrd="0" presId="urn:microsoft.com/office/officeart/2005/8/layout/vList5"/>
    <dgm:cxn modelId="{829A2295-0A35-4D48-8E05-9AC7F5975828}" srcId="{6DEDEA1E-A791-ED43-B8F7-042878B392C2}" destId="{CBAFF057-DFF4-9240-90C3-99C3358A915C}" srcOrd="0" destOrd="0" parTransId="{16A61E8D-4669-804D-8DD2-EB890EAE0E39}" sibTransId="{49A8A604-CDA3-A847-B394-C2992D2238DF}"/>
    <dgm:cxn modelId="{015231A9-3145-8946-9CC2-3E8A30BEA1AF}" type="presOf" srcId="{09677A40-7047-624F-997B-88EB161DF8D4}" destId="{155758EF-131E-9D4F-B56F-E7669135FCE0}" srcOrd="0" destOrd="0" presId="urn:microsoft.com/office/officeart/2005/8/layout/vList5"/>
    <dgm:cxn modelId="{5D003ECB-53FC-EC45-9576-9D664FBAF4B1}" srcId="{6DEDEA1E-A791-ED43-B8F7-042878B392C2}" destId="{09677A40-7047-624F-997B-88EB161DF8D4}" srcOrd="1" destOrd="0" parTransId="{5FDDB3F7-675B-DE42-A68C-A8E95AA50004}" sibTransId="{F51C938F-CDF1-ED42-A2EF-960CC13EF03B}"/>
    <dgm:cxn modelId="{DE07AD33-29E5-BE4A-A952-8ECF16ED2FE9}" type="presParOf" srcId="{1C1CA45A-F793-6F43-8EE2-75C940693FE3}" destId="{4137A109-99D0-1C40-8266-C373CB714877}" srcOrd="0" destOrd="0" presId="urn:microsoft.com/office/officeart/2005/8/layout/vList5"/>
    <dgm:cxn modelId="{A97A249A-1554-374A-9C9B-27A6BD33C857}" type="presParOf" srcId="{4137A109-99D0-1C40-8266-C373CB714877}" destId="{B7868026-D99A-144F-B965-9EDF6935815D}" srcOrd="0" destOrd="0" presId="urn:microsoft.com/office/officeart/2005/8/layout/vList5"/>
    <dgm:cxn modelId="{2A42CE05-7534-5A4E-8DE1-F5C0AEA21358}" type="presParOf" srcId="{1C1CA45A-F793-6F43-8EE2-75C940693FE3}" destId="{4D4A27AE-46E7-3542-92ED-6008981EF56B}" srcOrd="1" destOrd="0" presId="urn:microsoft.com/office/officeart/2005/8/layout/vList5"/>
    <dgm:cxn modelId="{64773DCE-D57E-DF46-9704-7299356FF3D3}" type="presParOf" srcId="{1C1CA45A-F793-6F43-8EE2-75C940693FE3}" destId="{45D65901-1A7A-C74A-8CEE-0A0F7EF40781}" srcOrd="2" destOrd="0" presId="urn:microsoft.com/office/officeart/2005/8/layout/vList5"/>
    <dgm:cxn modelId="{D580727C-3354-8D4C-90F1-1FC78B5A3A3B}" type="presParOf" srcId="{45D65901-1A7A-C74A-8CEE-0A0F7EF40781}" destId="{155758EF-131E-9D4F-B56F-E7669135FCE0}" srcOrd="0" destOrd="0" presId="urn:microsoft.com/office/officeart/2005/8/layout/vList5"/>
    <dgm:cxn modelId="{4174EB64-5B35-6044-9AEF-B7DAAF346982}" type="presParOf" srcId="{1C1CA45A-F793-6F43-8EE2-75C940693FE3}" destId="{E3F03283-9AE6-BE4C-A738-4CEF5D7E3405}" srcOrd="3" destOrd="0" presId="urn:microsoft.com/office/officeart/2005/8/layout/vList5"/>
    <dgm:cxn modelId="{1B191647-8CF2-F545-9249-4CBE8BCCEEF8}" type="presParOf" srcId="{1C1CA45A-F793-6F43-8EE2-75C940693FE3}" destId="{4B99EB12-55FB-7345-AE92-72E137F0A69C}" srcOrd="4" destOrd="0" presId="urn:microsoft.com/office/officeart/2005/8/layout/vList5"/>
    <dgm:cxn modelId="{3ED1F2A2-6630-E34F-8B9C-D2F2EFF620AC}" type="presParOf" srcId="{4B99EB12-55FB-7345-AE92-72E137F0A69C}" destId="{DD2F5EE8-C013-164A-A2A2-07C862C73CF7}" srcOrd="0" destOrd="0" presId="urn:microsoft.com/office/officeart/2005/8/layout/vList5"/>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63338DFF-D947-4C0D-B7F0-48B3741DF7DA}">
      <dgm:prSet custT="1"/>
      <dgm:spPr/>
      <dgm:t>
        <a:bodyPr/>
        <a:lstStyle/>
        <a:p>
          <a:pPr rtl="0"/>
          <a:r>
            <a:rPr lang="en-CA" sz="2800" dirty="0"/>
            <a:t>T1Pad</a:t>
          </a:r>
        </a:p>
      </dgm:t>
    </dgm:pt>
    <dgm:pt modelId="{B899D5EC-4567-43FE-AC78-6EC2FD57D4F9}" type="parTrans" cxnId="{C56BCB63-1092-4E46-9777-495C99942457}">
      <dgm:prSet/>
      <dgm:spPr/>
      <dgm:t>
        <a:bodyPr/>
        <a:lstStyle/>
        <a:p>
          <a:endParaRPr lang="en-US"/>
        </a:p>
      </dgm:t>
    </dgm:pt>
    <dgm:pt modelId="{3B31AD9D-07A6-4045-AF5D-3CAA23001A20}" type="sibTrans" cxnId="{C56BCB63-1092-4E46-9777-495C99942457}">
      <dgm:prSet/>
      <dgm:spPr/>
      <dgm:t>
        <a:bodyPr/>
        <a:lstStyle/>
        <a:p>
          <a:endParaRPr lang="en-US"/>
        </a:p>
      </dgm:t>
    </dgm:pt>
    <dgm:pt modelId="{3515B54C-5B4F-4429-824B-F9A1C6348958}">
      <dgm:prSet/>
      <dgm:spPr/>
      <dgm:t>
        <a:bodyPr/>
        <a:lstStyle/>
        <a:p>
          <a:pPr rtl="0"/>
          <a:r>
            <a:rPr lang="en-CA" dirty="0"/>
            <a:t>F4 &gt; T1Pad</a:t>
          </a:r>
        </a:p>
      </dgm:t>
    </dgm:pt>
    <dgm:pt modelId="{FEE5F204-A458-4270-A606-39F20D12AB08}" type="parTrans" cxnId="{48C2CE02-B014-4605-94E2-16E47D939C57}">
      <dgm:prSet/>
      <dgm:spPr/>
      <dgm:t>
        <a:bodyPr/>
        <a:lstStyle/>
        <a:p>
          <a:endParaRPr lang="en-US"/>
        </a:p>
      </dgm:t>
    </dgm:pt>
    <dgm:pt modelId="{E9ABEA3D-FD6A-479D-A95E-9E0D0C09734D}" type="sibTrans" cxnId="{48C2CE02-B014-4605-94E2-16E47D939C57}">
      <dgm:prSet/>
      <dgm:spPr/>
      <dgm:t>
        <a:bodyPr/>
        <a:lstStyle/>
        <a:p>
          <a:endParaRPr lang="en-US"/>
        </a:p>
      </dgm:t>
    </dgm:pt>
    <dgm:pt modelId="{B348313D-51E6-46C8-AF21-A700BF2859EC}">
      <dgm:prSet/>
      <dgm:spPr/>
      <dgm:t>
        <a:bodyPr/>
        <a:lstStyle/>
        <a:p>
          <a:pPr rtl="0"/>
          <a:r>
            <a:rPr lang="en-CA" dirty="0"/>
            <a:t>Select &gt; Yes</a:t>
          </a:r>
        </a:p>
      </dgm:t>
    </dgm:pt>
    <dgm:pt modelId="{37D516C8-96E6-4CF7-B955-69240D96E189}" type="parTrans" cxnId="{A1B1B0E2-B0A7-42E0-8CCF-923DB4231AAF}">
      <dgm:prSet/>
      <dgm:spPr/>
      <dgm:t>
        <a:bodyPr/>
        <a:lstStyle/>
        <a:p>
          <a:endParaRPr lang="en-US"/>
        </a:p>
      </dgm:t>
    </dgm:pt>
    <dgm:pt modelId="{D4D20964-DA1A-4B06-91DD-DC4017567AF0}" type="sibTrans" cxnId="{A1B1B0E2-B0A7-42E0-8CCF-923DB4231AAF}">
      <dgm:prSet/>
      <dgm:spPr/>
      <dgm:t>
        <a:bodyPr/>
        <a:lstStyle/>
        <a:p>
          <a:endParaRPr lang="en-US"/>
        </a:p>
      </dgm:t>
    </dgm:pt>
    <dgm:pt modelId="{2C9797C5-B00B-4F90-8BD5-4128C3CA6C48}">
      <dgm:prSet/>
      <dgm:spPr/>
      <dgm:t>
        <a:bodyPr/>
        <a:lstStyle/>
        <a:p>
          <a:pPr rtl="0"/>
          <a:r>
            <a:rPr lang="en-CA" dirty="0"/>
            <a:t>Click </a:t>
          </a:r>
          <a:r>
            <a:rPr lang="en-CA" i="1" dirty="0"/>
            <a:t>Pay in Full</a:t>
          </a:r>
        </a:p>
      </dgm:t>
    </dgm:pt>
    <dgm:pt modelId="{A5CD0D60-C054-4BB0-9002-6A8EE49A19F5}" type="parTrans" cxnId="{BE21CB35-4283-463F-B56F-ED6F8C504AF1}">
      <dgm:prSet/>
      <dgm:spPr/>
      <dgm:t>
        <a:bodyPr/>
        <a:lstStyle/>
        <a:p>
          <a:endParaRPr lang="en-US"/>
        </a:p>
      </dgm:t>
    </dgm:pt>
    <dgm:pt modelId="{204C1459-53D4-496C-A373-AC06F1E8878D}" type="sibTrans" cxnId="{BE21CB35-4283-463F-B56F-ED6F8C504AF1}">
      <dgm:prSet/>
      <dgm:spPr/>
      <dgm:t>
        <a:bodyPr/>
        <a:lstStyle/>
        <a:p>
          <a:endParaRPr lang="en-US"/>
        </a:p>
      </dgm:t>
    </dgm:pt>
    <dgm:pt modelId="{B837DF6C-8F87-47AC-8ABF-4246E6A6F9D8}">
      <dgm:prSet/>
      <dgm:spPr/>
      <dgm:t>
        <a:bodyPr/>
        <a:lstStyle/>
        <a:p>
          <a:pPr rtl="0"/>
          <a:r>
            <a:rPr lang="en-CA" i="0" dirty="0"/>
            <a:t>Go to </a:t>
          </a:r>
          <a:r>
            <a:rPr lang="en-CA" i="1" dirty="0"/>
            <a:t>EFILE &gt; EFILE PreAuthorized Debit</a:t>
          </a:r>
          <a:endParaRPr lang="en-CA" i="0" dirty="0"/>
        </a:p>
      </dgm:t>
    </dgm:pt>
    <dgm:pt modelId="{EE1A73A8-1E4F-426C-BBFB-7B11392B1B4C}" type="parTrans" cxnId="{B098E3DF-FD01-4A59-B55C-38052E826E88}">
      <dgm:prSet/>
      <dgm:spPr/>
      <dgm:t>
        <a:bodyPr/>
        <a:lstStyle/>
        <a:p>
          <a:endParaRPr lang="en-US"/>
        </a:p>
      </dgm:t>
    </dgm:pt>
    <dgm:pt modelId="{1FB965CF-9ABE-4FFA-8B3A-BCC0A4F7AF8F}" type="sibTrans" cxnId="{B098E3DF-FD01-4A59-B55C-38052E826E88}">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0A106E6E-EB7F-456D-BC51-170C9B33DEC2}" type="pres">
      <dgm:prSet presAssocID="{63338DFF-D947-4C0D-B7F0-48B3741DF7DA}" presName="linNode" presStyleCnt="0"/>
      <dgm:spPr/>
    </dgm:pt>
    <dgm:pt modelId="{3E297B75-DC03-4167-ABD4-82BA475F1A55}" type="pres">
      <dgm:prSet presAssocID="{63338DFF-D947-4C0D-B7F0-48B3741DF7DA}" presName="parentText" presStyleLbl="node1" presStyleIdx="0" presStyleCnt="1">
        <dgm:presLayoutVars>
          <dgm:chMax val="1"/>
          <dgm:bulletEnabled val="1"/>
        </dgm:presLayoutVars>
      </dgm:prSet>
      <dgm:spPr/>
    </dgm:pt>
    <dgm:pt modelId="{7070B7B9-5BFA-46FF-B17C-64685C4FACE5}" type="pres">
      <dgm:prSet presAssocID="{63338DFF-D947-4C0D-B7F0-48B3741DF7DA}" presName="descendantText" presStyleLbl="alignAccFollowNode1" presStyleIdx="0" presStyleCnt="1">
        <dgm:presLayoutVars>
          <dgm:bulletEnabled val="1"/>
        </dgm:presLayoutVars>
      </dgm:prSet>
      <dgm:spPr/>
    </dgm:pt>
  </dgm:ptLst>
  <dgm:cxnLst>
    <dgm:cxn modelId="{48C2CE02-B014-4605-94E2-16E47D939C57}" srcId="{63338DFF-D947-4C0D-B7F0-48B3741DF7DA}" destId="{3515B54C-5B4F-4429-824B-F9A1C6348958}" srcOrd="0" destOrd="0" parTransId="{FEE5F204-A458-4270-A606-39F20D12AB08}" sibTransId="{E9ABEA3D-FD6A-479D-A95E-9E0D0C09734D}"/>
    <dgm:cxn modelId="{BE21CB35-4283-463F-B56F-ED6F8C504AF1}" srcId="{63338DFF-D947-4C0D-B7F0-48B3741DF7DA}" destId="{2C9797C5-B00B-4F90-8BD5-4128C3CA6C48}" srcOrd="2" destOrd="0" parTransId="{A5CD0D60-C054-4BB0-9002-6A8EE49A19F5}" sibTransId="{204C1459-53D4-496C-A373-AC06F1E8878D}"/>
    <dgm:cxn modelId="{756FD235-46B8-DD4E-B0D6-7C6A74123149}" type="presOf" srcId="{B348313D-51E6-46C8-AF21-A700BF2859EC}" destId="{7070B7B9-5BFA-46FF-B17C-64685C4FACE5}" srcOrd="0" destOrd="1" presId="urn:microsoft.com/office/officeart/2005/8/layout/vList5"/>
    <dgm:cxn modelId="{FB1CFA5E-DBC5-B045-9E94-7D9A30713266}" type="presOf" srcId="{2C9797C5-B00B-4F90-8BD5-4128C3CA6C48}" destId="{7070B7B9-5BFA-46FF-B17C-64685C4FACE5}" srcOrd="0" destOrd="2" presId="urn:microsoft.com/office/officeart/2005/8/layout/vList5"/>
    <dgm:cxn modelId="{C56BCB63-1092-4E46-9777-495C99942457}" srcId="{02BA0D8E-884F-D545-BFF7-95207C181DAB}" destId="{63338DFF-D947-4C0D-B7F0-48B3741DF7DA}" srcOrd="0" destOrd="0" parTransId="{B899D5EC-4567-43FE-AC78-6EC2FD57D4F9}" sibTransId="{3B31AD9D-07A6-4045-AF5D-3CAA23001A20}"/>
    <dgm:cxn modelId="{6688D76C-07F6-2049-B735-66BC6E8D3DFE}" type="presOf" srcId="{B837DF6C-8F87-47AC-8ABF-4246E6A6F9D8}" destId="{7070B7B9-5BFA-46FF-B17C-64685C4FACE5}" srcOrd="0" destOrd="3" presId="urn:microsoft.com/office/officeart/2005/8/layout/vList5"/>
    <dgm:cxn modelId="{6BE5879B-1D18-DE4C-8048-C015B9B63434}" type="presOf" srcId="{3515B54C-5B4F-4429-824B-F9A1C6348958}" destId="{7070B7B9-5BFA-46FF-B17C-64685C4FACE5}" srcOrd="0" destOrd="0" presId="urn:microsoft.com/office/officeart/2005/8/layout/vList5"/>
    <dgm:cxn modelId="{2F9084C1-2755-794C-85FF-B8F25A4ED847}" type="presOf" srcId="{63338DFF-D947-4C0D-B7F0-48B3741DF7DA}" destId="{3E297B75-DC03-4167-ABD4-82BA475F1A55}" srcOrd="0" destOrd="0" presId="urn:microsoft.com/office/officeart/2005/8/layout/vList5"/>
    <dgm:cxn modelId="{2614FFD9-4554-0946-A1E7-CCE13B6A73D9}" type="presOf" srcId="{02BA0D8E-884F-D545-BFF7-95207C181DAB}" destId="{5325FF06-BE85-6742-9495-B8F42BFC9B7F}" srcOrd="0" destOrd="0" presId="urn:microsoft.com/office/officeart/2005/8/layout/vList5"/>
    <dgm:cxn modelId="{B098E3DF-FD01-4A59-B55C-38052E826E88}" srcId="{63338DFF-D947-4C0D-B7F0-48B3741DF7DA}" destId="{B837DF6C-8F87-47AC-8ABF-4246E6A6F9D8}" srcOrd="3" destOrd="0" parTransId="{EE1A73A8-1E4F-426C-BBFB-7B11392B1B4C}" sibTransId="{1FB965CF-9ABE-4FFA-8B3A-BCC0A4F7AF8F}"/>
    <dgm:cxn modelId="{A1B1B0E2-B0A7-42E0-8CCF-923DB4231AAF}" srcId="{63338DFF-D947-4C0D-B7F0-48B3741DF7DA}" destId="{B348313D-51E6-46C8-AF21-A700BF2859EC}" srcOrd="1" destOrd="0" parTransId="{37D516C8-96E6-4CF7-B955-69240D96E189}" sibTransId="{D4D20964-DA1A-4B06-91DD-DC4017567AF0}"/>
    <dgm:cxn modelId="{56319B28-B922-584E-AC25-5CD7CE549E4F}" type="presParOf" srcId="{5325FF06-BE85-6742-9495-B8F42BFC9B7F}" destId="{0A106E6E-EB7F-456D-BC51-170C9B33DEC2}" srcOrd="0" destOrd="0" presId="urn:microsoft.com/office/officeart/2005/8/layout/vList5"/>
    <dgm:cxn modelId="{C8206ED8-0283-7842-9A7E-A2840993D434}" type="presParOf" srcId="{0A106E6E-EB7F-456D-BC51-170C9B33DEC2}" destId="{3E297B75-DC03-4167-ABD4-82BA475F1A55}" srcOrd="0" destOrd="0" presId="urn:microsoft.com/office/officeart/2005/8/layout/vList5"/>
    <dgm:cxn modelId="{8C82654D-7827-1C43-B547-EC332E89B56E}" type="presParOf" srcId="{0A106E6E-EB7F-456D-BC51-170C9B33DEC2}" destId="{7070B7B9-5BFA-46FF-B17C-64685C4FACE5}"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3</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E5F3AF11-FDE6-A545-8DEF-78EFA49A3429}"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C23182DE-8923-054B-92C3-554406850881}" type="presOf" srcId="{C2945230-8A03-49C4-AE11-508590DB7B8B}" destId="{DDF5C611-4A57-4D32-BF4D-AD972F42154B}" srcOrd="0" destOrd="0" presId="urn:microsoft.com/office/officeart/2005/8/layout/venn1"/>
    <dgm:cxn modelId="{4607A6C4-58C5-5446-BD14-B03D7F2AB4EF}"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63338DFF-D947-4C0D-B7F0-48B3741DF7DA}">
      <dgm:prSet custT="1"/>
      <dgm:spPr/>
      <dgm:t>
        <a:bodyPr/>
        <a:lstStyle/>
        <a:p>
          <a:pPr rtl="0"/>
          <a:r>
            <a:rPr lang="en-CA" sz="2800" dirty="0"/>
            <a:t>Express Notice of Assessment</a:t>
          </a:r>
        </a:p>
      </dgm:t>
    </dgm:pt>
    <dgm:pt modelId="{B899D5EC-4567-43FE-AC78-6EC2FD57D4F9}" type="parTrans" cxnId="{C56BCB63-1092-4E46-9777-495C99942457}">
      <dgm:prSet/>
      <dgm:spPr/>
      <dgm:t>
        <a:bodyPr/>
        <a:lstStyle/>
        <a:p>
          <a:endParaRPr lang="en-US"/>
        </a:p>
      </dgm:t>
    </dgm:pt>
    <dgm:pt modelId="{3B31AD9D-07A6-4045-AF5D-3CAA23001A20}" type="sibTrans" cxnId="{C56BCB63-1092-4E46-9777-495C99942457}">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0A106E6E-EB7F-456D-BC51-170C9B33DEC2}" type="pres">
      <dgm:prSet presAssocID="{63338DFF-D947-4C0D-B7F0-48B3741DF7DA}" presName="linNode" presStyleCnt="0"/>
      <dgm:spPr/>
    </dgm:pt>
    <dgm:pt modelId="{3E297B75-DC03-4167-ABD4-82BA475F1A55}" type="pres">
      <dgm:prSet presAssocID="{63338DFF-D947-4C0D-B7F0-48B3741DF7DA}" presName="parentText" presStyleLbl="node1" presStyleIdx="0" presStyleCnt="1" custScaleX="206828">
        <dgm:presLayoutVars>
          <dgm:chMax val="1"/>
          <dgm:bulletEnabled val="1"/>
        </dgm:presLayoutVars>
      </dgm:prSet>
      <dgm:spPr/>
    </dgm:pt>
  </dgm:ptLst>
  <dgm:cxnLst>
    <dgm:cxn modelId="{C56BCB63-1092-4E46-9777-495C99942457}" srcId="{02BA0D8E-884F-D545-BFF7-95207C181DAB}" destId="{63338DFF-D947-4C0D-B7F0-48B3741DF7DA}" srcOrd="0" destOrd="0" parTransId="{B899D5EC-4567-43FE-AC78-6EC2FD57D4F9}" sibTransId="{3B31AD9D-07A6-4045-AF5D-3CAA23001A20}"/>
    <dgm:cxn modelId="{2F9084C1-2755-794C-85FF-B8F25A4ED847}" type="presOf" srcId="{63338DFF-D947-4C0D-B7F0-48B3741DF7DA}" destId="{3E297B75-DC03-4167-ABD4-82BA475F1A55}" srcOrd="0" destOrd="0" presId="urn:microsoft.com/office/officeart/2005/8/layout/vList5"/>
    <dgm:cxn modelId="{2614FFD9-4554-0946-A1E7-CCE13B6A73D9}" type="presOf" srcId="{02BA0D8E-884F-D545-BFF7-95207C181DAB}" destId="{5325FF06-BE85-6742-9495-B8F42BFC9B7F}" srcOrd="0" destOrd="0" presId="urn:microsoft.com/office/officeart/2005/8/layout/vList5"/>
    <dgm:cxn modelId="{56319B28-B922-584E-AC25-5CD7CE549E4F}" type="presParOf" srcId="{5325FF06-BE85-6742-9495-B8F42BFC9B7F}" destId="{0A106E6E-EB7F-456D-BC51-170C9B33DEC2}" srcOrd="0" destOrd="0" presId="urn:microsoft.com/office/officeart/2005/8/layout/vList5"/>
    <dgm:cxn modelId="{C8206ED8-0283-7842-9A7E-A2840993D434}" type="presParOf" srcId="{0A106E6E-EB7F-456D-BC51-170C9B33DEC2}" destId="{3E297B75-DC03-4167-ABD4-82BA475F1A55}"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4</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E5F3AF11-FDE6-A545-8DEF-78EFA49A3429}"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C23182DE-8923-054B-92C3-554406850881}" type="presOf" srcId="{C2945230-8A03-49C4-AE11-508590DB7B8B}" destId="{DDF5C611-4A57-4D32-BF4D-AD972F42154B}" srcOrd="0" destOrd="0" presId="urn:microsoft.com/office/officeart/2005/8/layout/venn1"/>
    <dgm:cxn modelId="{4607A6C4-58C5-5446-BD14-B03D7F2AB4EF}"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3CB6F0BF-076D-9F48-9A46-60028B6FE005}">
      <dgm:prSet custT="1"/>
      <dgm:spPr/>
      <dgm:t>
        <a:bodyPr/>
        <a:lstStyle/>
        <a:p>
          <a:pPr rtl="0"/>
          <a:r>
            <a:rPr lang="en-CA" sz="3600" dirty="0"/>
            <a:t>How to</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BCED7BB8-DEB5-4F92-B4AB-8FAA3206C294}">
      <dgm:prSet/>
      <dgm:spPr/>
      <dgm:t>
        <a:bodyPr/>
        <a:lstStyle/>
        <a:p>
          <a:pPr rtl="0"/>
          <a:r>
            <a:rPr lang="en-CA" dirty="0"/>
            <a:t>Create new return</a:t>
          </a:r>
        </a:p>
      </dgm:t>
    </dgm:pt>
    <dgm:pt modelId="{19192E39-CBB0-4E45-BB36-38DD6C39D4E8}" type="parTrans" cxnId="{D0A81350-A200-4445-8F26-F180A38F23E2}">
      <dgm:prSet/>
      <dgm:spPr/>
      <dgm:t>
        <a:bodyPr/>
        <a:lstStyle/>
        <a:p>
          <a:endParaRPr lang="en-US"/>
        </a:p>
      </dgm:t>
    </dgm:pt>
    <dgm:pt modelId="{E0B99025-BA52-4969-A69A-5870B44D96F1}" type="sibTrans" cxnId="{D0A81350-A200-4445-8F26-F180A38F23E2}">
      <dgm:prSet/>
      <dgm:spPr/>
      <dgm:t>
        <a:bodyPr/>
        <a:lstStyle/>
        <a:p>
          <a:endParaRPr lang="en-US"/>
        </a:p>
      </dgm:t>
    </dgm:pt>
    <dgm:pt modelId="{61AEFD12-5743-496F-AC38-DEC9C27A4F93}">
      <dgm:prSet/>
      <dgm:spPr/>
      <dgm:t>
        <a:bodyPr/>
        <a:lstStyle/>
        <a:p>
          <a:pPr rtl="0"/>
          <a:r>
            <a:rPr lang="en-CA" dirty="0"/>
            <a:t>Enter default data (Province, Elections Canada, etc.)</a:t>
          </a:r>
        </a:p>
      </dgm:t>
    </dgm:pt>
    <dgm:pt modelId="{0C958271-542F-47E7-86F1-7C1D2E5550AF}" type="parTrans" cxnId="{ABC06DEE-6747-4BC9-A62B-52522226AEBF}">
      <dgm:prSet/>
      <dgm:spPr/>
      <dgm:t>
        <a:bodyPr/>
        <a:lstStyle/>
        <a:p>
          <a:endParaRPr lang="en-US"/>
        </a:p>
      </dgm:t>
    </dgm:pt>
    <dgm:pt modelId="{8FC5438E-F226-403E-80CA-F7545E6277E3}" type="sibTrans" cxnId="{ABC06DEE-6747-4BC9-A62B-52522226AEBF}">
      <dgm:prSet/>
      <dgm:spPr/>
      <dgm:t>
        <a:bodyPr/>
        <a:lstStyle/>
        <a:p>
          <a:endParaRPr lang="en-US"/>
        </a:p>
      </dgm:t>
    </dgm:pt>
    <dgm:pt modelId="{2ED06D65-A916-4E3A-B4A5-9A62CA2A0796}">
      <dgm:prSet/>
      <dgm:spPr/>
      <dgm:t>
        <a:bodyPr/>
        <a:lstStyle/>
        <a:p>
          <a:pPr rtl="0"/>
          <a:r>
            <a:rPr lang="en-CA" dirty="0"/>
            <a:t>Open default forms (T4, T5, etc.)</a:t>
          </a:r>
        </a:p>
      </dgm:t>
    </dgm:pt>
    <dgm:pt modelId="{8A686D38-217F-4AD7-AE97-36C40981DD3C}" type="parTrans" cxnId="{C7FF89F3-5327-4DC0-8171-0A317E32A46A}">
      <dgm:prSet/>
      <dgm:spPr/>
      <dgm:t>
        <a:bodyPr/>
        <a:lstStyle/>
        <a:p>
          <a:endParaRPr lang="en-US"/>
        </a:p>
      </dgm:t>
    </dgm:pt>
    <dgm:pt modelId="{56F2C142-E209-44EE-8C8A-BA8C8AABA568}" type="sibTrans" cxnId="{C7FF89F3-5327-4DC0-8171-0A317E32A46A}">
      <dgm:prSet/>
      <dgm:spPr/>
      <dgm:t>
        <a:bodyPr/>
        <a:lstStyle/>
        <a:p>
          <a:endParaRPr lang="en-US"/>
        </a:p>
      </dgm:t>
    </dgm:pt>
    <dgm:pt modelId="{40564DCB-023C-411E-BE7C-F981C6F4DAE4}">
      <dgm:prSet/>
      <dgm:spPr/>
      <dgm:t>
        <a:bodyPr/>
        <a:lstStyle/>
        <a:p>
          <a:pPr rtl="0"/>
          <a:r>
            <a:rPr lang="en-CA" dirty="0"/>
            <a:t>Save file</a:t>
          </a:r>
        </a:p>
      </dgm:t>
    </dgm:pt>
    <dgm:pt modelId="{1EC49ECC-D0DA-423E-8A9E-C94D89F86906}" type="parTrans" cxnId="{7D8E20AF-1FD4-4EE7-8BFC-BEB7049D67C7}">
      <dgm:prSet/>
      <dgm:spPr/>
      <dgm:t>
        <a:bodyPr/>
        <a:lstStyle/>
        <a:p>
          <a:endParaRPr lang="en-US"/>
        </a:p>
      </dgm:t>
    </dgm:pt>
    <dgm:pt modelId="{A95F5F6B-117B-4599-BD3F-CAB87107BC49}" type="sibTrans" cxnId="{7D8E20AF-1FD4-4EE7-8BFC-BEB7049D67C7}">
      <dgm:prSet/>
      <dgm:spPr/>
      <dgm:t>
        <a:bodyPr/>
        <a:lstStyle/>
        <a:p>
          <a:endParaRPr lang="en-US"/>
        </a:p>
      </dgm:t>
    </dgm:pt>
    <dgm:pt modelId="{73EB53C1-F494-4647-9BCE-BFF143D0B44D}">
      <dgm:prSet/>
      <dgm:spPr/>
      <dgm:t>
        <a:bodyPr/>
        <a:lstStyle/>
        <a:p>
          <a:pPr rtl="0"/>
          <a:r>
            <a:rPr lang="en-CA" dirty="0"/>
            <a:t>Enter file name in Module &gt; Templates</a:t>
          </a:r>
        </a:p>
      </dgm:t>
    </dgm:pt>
    <dgm:pt modelId="{AEB7AC21-813E-402D-BEC3-772D302D5DA5}" type="parTrans" cxnId="{48261EEE-E18C-4B44-B3C4-2993423AFF51}">
      <dgm:prSet/>
      <dgm:spPr/>
      <dgm:t>
        <a:bodyPr/>
        <a:lstStyle/>
        <a:p>
          <a:endParaRPr lang="en-US"/>
        </a:p>
      </dgm:t>
    </dgm:pt>
    <dgm:pt modelId="{1F342EE4-7DBB-4193-BD35-2D59365C3D85}" type="sibTrans" cxnId="{48261EEE-E18C-4B44-B3C4-2993423AFF51}">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75B9A789-CD09-2A4B-8171-6B603EA5E1CD}" type="pres">
      <dgm:prSet presAssocID="{3CB6F0BF-076D-9F48-9A46-60028B6FE005}" presName="linNode" presStyleCnt="0"/>
      <dgm:spPr/>
    </dgm:pt>
    <dgm:pt modelId="{593802B7-0668-1942-9C36-B879F080D8EA}" type="pres">
      <dgm:prSet presAssocID="{3CB6F0BF-076D-9F48-9A46-60028B6FE005}" presName="parentText" presStyleLbl="node1" presStyleIdx="0" presStyleCnt="1">
        <dgm:presLayoutVars>
          <dgm:chMax val="1"/>
          <dgm:bulletEnabled val="1"/>
        </dgm:presLayoutVars>
      </dgm:prSet>
      <dgm:spPr/>
    </dgm:pt>
    <dgm:pt modelId="{EFBCD09E-0369-4758-A62E-75B53FCA7B40}" type="pres">
      <dgm:prSet presAssocID="{3CB6F0BF-076D-9F48-9A46-60028B6FE005}" presName="descendantText" presStyleLbl="alignAccFollowNode1" presStyleIdx="0" presStyleCnt="1">
        <dgm:presLayoutVars>
          <dgm:bulletEnabled val="1"/>
        </dgm:presLayoutVars>
      </dgm:prSet>
      <dgm:spPr/>
    </dgm:pt>
  </dgm:ptLst>
  <dgm:cxnLst>
    <dgm:cxn modelId="{C5848D0B-5FD4-F24C-8859-2A2FE4A00863}" srcId="{02BA0D8E-884F-D545-BFF7-95207C181DAB}" destId="{3CB6F0BF-076D-9F48-9A46-60028B6FE005}" srcOrd="0" destOrd="0" parTransId="{63DF646F-8161-E746-81DE-E736BB880F3B}" sibTransId="{02B95B21-F90C-F54E-8161-72E219C98A93}"/>
    <dgm:cxn modelId="{E7C6450E-9D1A-434B-8244-E95F5BF52FF3}" type="presOf" srcId="{40564DCB-023C-411E-BE7C-F981C6F4DAE4}" destId="{EFBCD09E-0369-4758-A62E-75B53FCA7B40}" srcOrd="0" destOrd="3" presId="urn:microsoft.com/office/officeart/2005/8/layout/vList5"/>
    <dgm:cxn modelId="{8B88F014-92AC-4A46-9737-89F302E01A3A}" type="presOf" srcId="{BCED7BB8-DEB5-4F92-B4AB-8FAA3206C294}" destId="{EFBCD09E-0369-4758-A62E-75B53FCA7B40}" srcOrd="0" destOrd="0" presId="urn:microsoft.com/office/officeart/2005/8/layout/vList5"/>
    <dgm:cxn modelId="{FC88D845-A872-2949-9C41-B2790DBE7331}" type="presOf" srcId="{2ED06D65-A916-4E3A-B4A5-9A62CA2A0796}" destId="{EFBCD09E-0369-4758-A62E-75B53FCA7B40}" srcOrd="0" destOrd="2" presId="urn:microsoft.com/office/officeart/2005/8/layout/vList5"/>
    <dgm:cxn modelId="{461A4F4C-D400-7746-8F07-BE1E95E541DB}" type="presOf" srcId="{02BA0D8E-884F-D545-BFF7-95207C181DAB}" destId="{5325FF06-BE85-6742-9495-B8F42BFC9B7F}" srcOrd="0" destOrd="0" presId="urn:microsoft.com/office/officeart/2005/8/layout/vList5"/>
    <dgm:cxn modelId="{D0A81350-A200-4445-8F26-F180A38F23E2}" srcId="{3CB6F0BF-076D-9F48-9A46-60028B6FE005}" destId="{BCED7BB8-DEB5-4F92-B4AB-8FAA3206C294}" srcOrd="0" destOrd="0" parTransId="{19192E39-CBB0-4E45-BB36-38DD6C39D4E8}" sibTransId="{E0B99025-BA52-4969-A69A-5870B44D96F1}"/>
    <dgm:cxn modelId="{DBC9B771-081F-EF42-B05A-D239E0A50387}" type="presOf" srcId="{61AEFD12-5743-496F-AC38-DEC9C27A4F93}" destId="{EFBCD09E-0369-4758-A62E-75B53FCA7B40}" srcOrd="0" destOrd="1" presId="urn:microsoft.com/office/officeart/2005/8/layout/vList5"/>
    <dgm:cxn modelId="{59BF55A3-BFD7-DA46-A4FC-42496B85E886}" type="presOf" srcId="{3CB6F0BF-076D-9F48-9A46-60028B6FE005}" destId="{593802B7-0668-1942-9C36-B879F080D8EA}" srcOrd="0" destOrd="0" presId="urn:microsoft.com/office/officeart/2005/8/layout/vList5"/>
    <dgm:cxn modelId="{7D8E20AF-1FD4-4EE7-8BFC-BEB7049D67C7}" srcId="{3CB6F0BF-076D-9F48-9A46-60028B6FE005}" destId="{40564DCB-023C-411E-BE7C-F981C6F4DAE4}" srcOrd="3" destOrd="0" parTransId="{1EC49ECC-D0DA-423E-8A9E-C94D89F86906}" sibTransId="{A95F5F6B-117B-4599-BD3F-CAB87107BC49}"/>
    <dgm:cxn modelId="{A0142FED-E782-E243-A538-438B265C8C0A}" type="presOf" srcId="{73EB53C1-F494-4647-9BCE-BFF143D0B44D}" destId="{EFBCD09E-0369-4758-A62E-75B53FCA7B40}" srcOrd="0" destOrd="4" presId="urn:microsoft.com/office/officeart/2005/8/layout/vList5"/>
    <dgm:cxn modelId="{48261EEE-E18C-4B44-B3C4-2993423AFF51}" srcId="{3CB6F0BF-076D-9F48-9A46-60028B6FE005}" destId="{73EB53C1-F494-4647-9BCE-BFF143D0B44D}" srcOrd="4" destOrd="0" parTransId="{AEB7AC21-813E-402D-BEC3-772D302D5DA5}" sibTransId="{1F342EE4-7DBB-4193-BD35-2D59365C3D85}"/>
    <dgm:cxn modelId="{ABC06DEE-6747-4BC9-A62B-52522226AEBF}" srcId="{3CB6F0BF-076D-9F48-9A46-60028B6FE005}" destId="{61AEFD12-5743-496F-AC38-DEC9C27A4F93}" srcOrd="1" destOrd="0" parTransId="{0C958271-542F-47E7-86F1-7C1D2E5550AF}" sibTransId="{8FC5438E-F226-403E-80CA-F7545E6277E3}"/>
    <dgm:cxn modelId="{C7FF89F3-5327-4DC0-8171-0A317E32A46A}" srcId="{3CB6F0BF-076D-9F48-9A46-60028B6FE005}" destId="{2ED06D65-A916-4E3A-B4A5-9A62CA2A0796}" srcOrd="2" destOrd="0" parTransId="{8A686D38-217F-4AD7-AE97-36C40981DD3C}" sibTransId="{56F2C142-E209-44EE-8C8A-BA8C8AABA568}"/>
    <dgm:cxn modelId="{B11EC53E-08DE-ED40-9CD7-D11D3F245681}" type="presParOf" srcId="{5325FF06-BE85-6742-9495-B8F42BFC9B7F}" destId="{75B9A789-CD09-2A4B-8171-6B603EA5E1CD}" srcOrd="0" destOrd="0" presId="urn:microsoft.com/office/officeart/2005/8/layout/vList5"/>
    <dgm:cxn modelId="{4A481587-6DE3-7F42-92DF-50E650DCB87A}" type="presParOf" srcId="{75B9A789-CD09-2A4B-8171-6B603EA5E1CD}" destId="{593802B7-0668-1942-9C36-B879F080D8EA}" srcOrd="0" destOrd="0" presId="urn:microsoft.com/office/officeart/2005/8/layout/vList5"/>
    <dgm:cxn modelId="{A6268F8D-E895-2943-91AB-2F43536F23EB}" type="presParOf" srcId="{75B9A789-CD09-2A4B-8171-6B603EA5E1CD}" destId="{EFBCD09E-0369-4758-A62E-75B53FCA7B4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s 6-7</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5DE4133C-0563-2948-AF02-5A4A93A7CB69}" type="presOf" srcId="{C2945230-8A03-49C4-AE11-508590DB7B8B}" destId="{DDF5C611-4A57-4D32-BF4D-AD972F42154B}" srcOrd="0" destOrd="0" presId="urn:microsoft.com/office/officeart/2005/8/layout/venn1"/>
    <dgm:cxn modelId="{ED91AE72-499F-904A-B094-E4AE0782B3BD}"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5ADBE70A-2575-564B-AF07-683F1DCE182A}"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E8D5DE3-8F25-49B4-B642-14F617CBD0EA}"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1DC2029D-CFA0-4A2F-A702-90A961F2577B}">
      <dgm:prSet custT="1"/>
      <dgm:spPr/>
      <dgm:t>
        <a:bodyPr/>
        <a:lstStyle/>
        <a:p>
          <a:r>
            <a:rPr lang="en-CA" sz="2000" dirty="0"/>
            <a:t>a convenient way to attach source documents to a tax file</a:t>
          </a:r>
          <a:endParaRPr lang="en-US" sz="2000" dirty="0"/>
        </a:p>
      </dgm:t>
    </dgm:pt>
    <dgm:pt modelId="{C15A013A-556F-4306-B6F7-31DC0E973A1C}" type="parTrans" cxnId="{63DCE9AF-CC12-4CD2-B741-F1631A72D0D1}">
      <dgm:prSet/>
      <dgm:spPr/>
      <dgm:t>
        <a:bodyPr/>
        <a:lstStyle/>
        <a:p>
          <a:endParaRPr lang="en-US"/>
        </a:p>
      </dgm:t>
    </dgm:pt>
    <dgm:pt modelId="{32A729F3-6096-467B-B4A7-88412AB4BA9C}" type="sibTrans" cxnId="{63DCE9AF-CC12-4CD2-B741-F1631A72D0D1}">
      <dgm:prSet/>
      <dgm:spPr/>
      <dgm:t>
        <a:bodyPr/>
        <a:lstStyle/>
        <a:p>
          <a:endParaRPr lang="en-US"/>
        </a:p>
      </dgm:t>
    </dgm:pt>
    <dgm:pt modelId="{9CDCC8E5-135B-4455-9099-C7C5B6DE1486}" type="pres">
      <dgm:prSet presAssocID="{FE8D5DE3-8F25-49B4-B642-14F617CBD0EA}" presName="rootnode" presStyleCnt="0">
        <dgm:presLayoutVars>
          <dgm:chMax/>
          <dgm:chPref/>
          <dgm:dir/>
          <dgm:animLvl val="lvl"/>
        </dgm:presLayoutVars>
      </dgm:prSet>
      <dgm:spPr/>
    </dgm:pt>
    <dgm:pt modelId="{AF8414D3-35A4-4D2D-8A59-76E83E9D477E}" type="pres">
      <dgm:prSet presAssocID="{1DC2029D-CFA0-4A2F-A702-90A961F2577B}" presName="composite" presStyleCnt="0"/>
      <dgm:spPr/>
    </dgm:pt>
    <dgm:pt modelId="{0B421120-59A8-40A6-B981-D00278D9EF37}" type="pres">
      <dgm:prSet presAssocID="{1DC2029D-CFA0-4A2F-A702-90A961F2577B}" presName="ParentText" presStyleLbl="node1" presStyleIdx="0" presStyleCnt="1" custScaleX="255748" custScaleY="176161">
        <dgm:presLayoutVars>
          <dgm:chMax val="1"/>
          <dgm:chPref val="1"/>
          <dgm:bulletEnabled val="1"/>
        </dgm:presLayoutVars>
      </dgm:prSet>
      <dgm:spPr/>
    </dgm:pt>
  </dgm:ptLst>
  <dgm:cxnLst>
    <dgm:cxn modelId="{FB767644-DFF0-7F4A-BFCA-6832AADAEE48}" type="presOf" srcId="{1DC2029D-CFA0-4A2F-A702-90A961F2577B}" destId="{0B421120-59A8-40A6-B981-D00278D9EF37}" srcOrd="0" destOrd="0" presId="urn:microsoft.com/office/officeart/2005/8/layout/StepDownProcess"/>
    <dgm:cxn modelId="{ADA2F54D-6730-1F48-9D15-B93D23775371}" type="presOf" srcId="{FE8D5DE3-8F25-49B4-B642-14F617CBD0EA}" destId="{9CDCC8E5-135B-4455-9099-C7C5B6DE1486}" srcOrd="0" destOrd="0" presId="urn:microsoft.com/office/officeart/2005/8/layout/StepDownProcess"/>
    <dgm:cxn modelId="{63DCE9AF-CC12-4CD2-B741-F1631A72D0D1}" srcId="{FE8D5DE3-8F25-49B4-B642-14F617CBD0EA}" destId="{1DC2029D-CFA0-4A2F-A702-90A961F2577B}" srcOrd="0" destOrd="0" parTransId="{C15A013A-556F-4306-B6F7-31DC0E973A1C}" sibTransId="{32A729F3-6096-467B-B4A7-88412AB4BA9C}"/>
    <dgm:cxn modelId="{7682DF19-FB38-2642-91A6-9E310BD3B313}" type="presParOf" srcId="{9CDCC8E5-135B-4455-9099-C7C5B6DE1486}" destId="{AF8414D3-35A4-4D2D-8A59-76E83E9D477E}" srcOrd="0" destOrd="0" presId="urn:microsoft.com/office/officeart/2005/8/layout/StepDownProcess"/>
    <dgm:cxn modelId="{23180766-0060-6A4D-9936-4033EDB7850D}" type="presParOf" srcId="{AF8414D3-35A4-4D2D-8A59-76E83E9D477E}" destId="{0B421120-59A8-40A6-B981-D00278D9EF37}" srcOrd="0"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7</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F428E95F-C1B6-4345-AF7D-899AC7FA995F}"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EE55FDEA-6888-5942-84E4-638246E5441B}" type="presOf" srcId="{C2945230-8A03-49C4-AE11-508590DB7B8B}" destId="{DDF5C611-4A57-4D32-BF4D-AD972F42154B}" srcOrd="0" destOrd="0" presId="urn:microsoft.com/office/officeart/2005/8/layout/venn1"/>
    <dgm:cxn modelId="{3EF5EF64-8F0C-CE4D-A33B-814F4A55A202}"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EDEA1E-A791-ED43-B8F7-042878B392C2}"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US"/>
        </a:p>
      </dgm:t>
    </dgm:pt>
    <dgm:pt modelId="{CBAFF057-DFF4-9240-90C3-99C3358A915C}">
      <dgm:prSet/>
      <dgm:spPr/>
      <dgm:t>
        <a:bodyPr/>
        <a:lstStyle/>
        <a:p>
          <a:pPr rtl="0"/>
          <a:r>
            <a:rPr lang="en-US" dirty="0"/>
            <a:t>HyperDocs management</a:t>
          </a:r>
        </a:p>
      </dgm:t>
    </dgm:pt>
    <dgm:pt modelId="{16A61E8D-4669-804D-8DD2-EB890EAE0E39}" type="parTrans" cxnId="{829A2295-0A35-4D48-8E05-9AC7F5975828}">
      <dgm:prSet/>
      <dgm:spPr/>
      <dgm:t>
        <a:bodyPr/>
        <a:lstStyle/>
        <a:p>
          <a:endParaRPr lang="en-US"/>
        </a:p>
      </dgm:t>
    </dgm:pt>
    <dgm:pt modelId="{49A8A604-CDA3-A847-B394-C2992D2238DF}" type="sibTrans" cxnId="{829A2295-0A35-4D48-8E05-9AC7F5975828}">
      <dgm:prSet/>
      <dgm:spPr/>
      <dgm:t>
        <a:bodyPr/>
        <a:lstStyle/>
        <a:p>
          <a:endParaRPr lang="en-US"/>
        </a:p>
      </dgm:t>
    </dgm:pt>
    <dgm:pt modelId="{09677A40-7047-624F-997B-88EB161DF8D4}">
      <dgm:prSet/>
      <dgm:spPr/>
      <dgm:t>
        <a:bodyPr/>
        <a:lstStyle/>
        <a:p>
          <a:pPr rtl="0"/>
          <a:r>
            <a:rPr lang="en-US" dirty="0"/>
            <a:t>Removing documents</a:t>
          </a:r>
        </a:p>
      </dgm:t>
    </dgm:pt>
    <dgm:pt modelId="{5FDDB3F7-675B-DE42-A68C-A8E95AA50004}" type="parTrans" cxnId="{5D003ECB-53FC-EC45-9576-9D664FBAF4B1}">
      <dgm:prSet/>
      <dgm:spPr/>
      <dgm:t>
        <a:bodyPr/>
        <a:lstStyle/>
        <a:p>
          <a:endParaRPr lang="en-US"/>
        </a:p>
      </dgm:t>
    </dgm:pt>
    <dgm:pt modelId="{F51C938F-CDF1-ED42-A2EF-960CC13EF03B}" type="sibTrans" cxnId="{5D003ECB-53FC-EC45-9576-9D664FBAF4B1}">
      <dgm:prSet/>
      <dgm:spPr/>
      <dgm:t>
        <a:bodyPr/>
        <a:lstStyle/>
        <a:p>
          <a:endParaRPr lang="en-US"/>
        </a:p>
      </dgm:t>
    </dgm:pt>
    <dgm:pt modelId="{B22DBAC5-31D0-C244-B9BC-FF5CAE5451EA}">
      <dgm:prSet/>
      <dgm:spPr/>
      <dgm:t>
        <a:bodyPr/>
        <a:lstStyle/>
        <a:p>
          <a:pPr rtl="0"/>
          <a:r>
            <a:rPr lang="en-US" dirty="0"/>
            <a:t>Synchronizing</a:t>
          </a:r>
        </a:p>
      </dgm:t>
    </dgm:pt>
    <dgm:pt modelId="{C8C73D3A-6F27-CF45-A5E7-9F554AC30604}" type="parTrans" cxnId="{8A4A6B00-0BBA-124A-9B25-008FFB473D9B}">
      <dgm:prSet/>
      <dgm:spPr/>
      <dgm:t>
        <a:bodyPr/>
        <a:lstStyle/>
        <a:p>
          <a:endParaRPr lang="en-US"/>
        </a:p>
      </dgm:t>
    </dgm:pt>
    <dgm:pt modelId="{215F2700-3CDE-6E43-BBA6-5A5AEC713524}" type="sibTrans" cxnId="{8A4A6B00-0BBA-124A-9B25-008FFB473D9B}">
      <dgm:prSet/>
      <dgm:spPr/>
      <dgm:t>
        <a:bodyPr/>
        <a:lstStyle/>
        <a:p>
          <a:endParaRPr lang="en-US"/>
        </a:p>
      </dgm:t>
    </dgm:pt>
    <dgm:pt modelId="{1C1CA45A-F793-6F43-8EE2-75C940693FE3}" type="pres">
      <dgm:prSet presAssocID="{6DEDEA1E-A791-ED43-B8F7-042878B392C2}" presName="Name0" presStyleCnt="0">
        <dgm:presLayoutVars>
          <dgm:dir/>
          <dgm:animLvl val="lvl"/>
          <dgm:resizeHandles val="exact"/>
        </dgm:presLayoutVars>
      </dgm:prSet>
      <dgm:spPr/>
    </dgm:pt>
    <dgm:pt modelId="{4137A109-99D0-1C40-8266-C373CB714877}" type="pres">
      <dgm:prSet presAssocID="{CBAFF057-DFF4-9240-90C3-99C3358A915C}" presName="linNode" presStyleCnt="0"/>
      <dgm:spPr/>
    </dgm:pt>
    <dgm:pt modelId="{B7868026-D99A-144F-B965-9EDF6935815D}" type="pres">
      <dgm:prSet presAssocID="{CBAFF057-DFF4-9240-90C3-99C3358A915C}" presName="parentText" presStyleLbl="node1" presStyleIdx="0" presStyleCnt="3">
        <dgm:presLayoutVars>
          <dgm:chMax val="1"/>
          <dgm:bulletEnabled val="1"/>
        </dgm:presLayoutVars>
      </dgm:prSet>
      <dgm:spPr/>
    </dgm:pt>
    <dgm:pt modelId="{4D4A27AE-46E7-3542-92ED-6008981EF56B}" type="pres">
      <dgm:prSet presAssocID="{49A8A604-CDA3-A847-B394-C2992D2238DF}" presName="sp" presStyleCnt="0"/>
      <dgm:spPr/>
    </dgm:pt>
    <dgm:pt modelId="{45D65901-1A7A-C74A-8CEE-0A0F7EF40781}" type="pres">
      <dgm:prSet presAssocID="{09677A40-7047-624F-997B-88EB161DF8D4}" presName="linNode" presStyleCnt="0"/>
      <dgm:spPr/>
    </dgm:pt>
    <dgm:pt modelId="{155758EF-131E-9D4F-B56F-E7669135FCE0}" type="pres">
      <dgm:prSet presAssocID="{09677A40-7047-624F-997B-88EB161DF8D4}" presName="parentText" presStyleLbl="node1" presStyleIdx="1" presStyleCnt="3">
        <dgm:presLayoutVars>
          <dgm:chMax val="1"/>
          <dgm:bulletEnabled val="1"/>
        </dgm:presLayoutVars>
      </dgm:prSet>
      <dgm:spPr/>
    </dgm:pt>
    <dgm:pt modelId="{E3F03283-9AE6-BE4C-A738-4CEF5D7E3405}" type="pres">
      <dgm:prSet presAssocID="{F51C938F-CDF1-ED42-A2EF-960CC13EF03B}" presName="sp" presStyleCnt="0"/>
      <dgm:spPr/>
    </dgm:pt>
    <dgm:pt modelId="{4B99EB12-55FB-7345-AE92-72E137F0A69C}" type="pres">
      <dgm:prSet presAssocID="{B22DBAC5-31D0-C244-B9BC-FF5CAE5451EA}" presName="linNode" presStyleCnt="0"/>
      <dgm:spPr/>
    </dgm:pt>
    <dgm:pt modelId="{DD2F5EE8-C013-164A-A2A2-07C862C73CF7}" type="pres">
      <dgm:prSet presAssocID="{B22DBAC5-31D0-C244-B9BC-FF5CAE5451EA}" presName="parentText" presStyleLbl="node1" presStyleIdx="2" presStyleCnt="3">
        <dgm:presLayoutVars>
          <dgm:chMax val="1"/>
          <dgm:bulletEnabled val="1"/>
        </dgm:presLayoutVars>
      </dgm:prSet>
      <dgm:spPr/>
    </dgm:pt>
  </dgm:ptLst>
  <dgm:cxnLst>
    <dgm:cxn modelId="{8A4A6B00-0BBA-124A-9B25-008FFB473D9B}" srcId="{6DEDEA1E-A791-ED43-B8F7-042878B392C2}" destId="{B22DBAC5-31D0-C244-B9BC-FF5CAE5451EA}" srcOrd="2" destOrd="0" parTransId="{C8C73D3A-6F27-CF45-A5E7-9F554AC30604}" sibTransId="{215F2700-3CDE-6E43-BBA6-5A5AEC713524}"/>
    <dgm:cxn modelId="{B74CFC1E-7D77-F247-97F5-3258812F79D3}" type="presOf" srcId="{09677A40-7047-624F-997B-88EB161DF8D4}" destId="{155758EF-131E-9D4F-B56F-E7669135FCE0}" srcOrd="0" destOrd="0" presId="urn:microsoft.com/office/officeart/2005/8/layout/vList5"/>
    <dgm:cxn modelId="{3C2C2624-2B73-C542-9E8D-548F7C6AB2C5}" type="presOf" srcId="{CBAFF057-DFF4-9240-90C3-99C3358A915C}" destId="{B7868026-D99A-144F-B965-9EDF6935815D}" srcOrd="0" destOrd="0" presId="urn:microsoft.com/office/officeart/2005/8/layout/vList5"/>
    <dgm:cxn modelId="{C5AEE53C-DDDB-6B48-858A-4833147AD630}" type="presOf" srcId="{B22DBAC5-31D0-C244-B9BC-FF5CAE5451EA}" destId="{DD2F5EE8-C013-164A-A2A2-07C862C73CF7}" srcOrd="0" destOrd="0" presId="urn:microsoft.com/office/officeart/2005/8/layout/vList5"/>
    <dgm:cxn modelId="{829A2295-0A35-4D48-8E05-9AC7F5975828}" srcId="{6DEDEA1E-A791-ED43-B8F7-042878B392C2}" destId="{CBAFF057-DFF4-9240-90C3-99C3358A915C}" srcOrd="0" destOrd="0" parTransId="{16A61E8D-4669-804D-8DD2-EB890EAE0E39}" sibTransId="{49A8A604-CDA3-A847-B394-C2992D2238DF}"/>
    <dgm:cxn modelId="{4F1649B5-A0C1-9A4D-94A2-FB5A08EE2657}" type="presOf" srcId="{6DEDEA1E-A791-ED43-B8F7-042878B392C2}" destId="{1C1CA45A-F793-6F43-8EE2-75C940693FE3}" srcOrd="0" destOrd="0" presId="urn:microsoft.com/office/officeart/2005/8/layout/vList5"/>
    <dgm:cxn modelId="{5D003ECB-53FC-EC45-9576-9D664FBAF4B1}" srcId="{6DEDEA1E-A791-ED43-B8F7-042878B392C2}" destId="{09677A40-7047-624F-997B-88EB161DF8D4}" srcOrd="1" destOrd="0" parTransId="{5FDDB3F7-675B-DE42-A68C-A8E95AA50004}" sibTransId="{F51C938F-CDF1-ED42-A2EF-960CC13EF03B}"/>
    <dgm:cxn modelId="{5C5B9BC2-7840-7D45-9EE2-00E8D1CE9CCA}" type="presParOf" srcId="{1C1CA45A-F793-6F43-8EE2-75C940693FE3}" destId="{4137A109-99D0-1C40-8266-C373CB714877}" srcOrd="0" destOrd="0" presId="urn:microsoft.com/office/officeart/2005/8/layout/vList5"/>
    <dgm:cxn modelId="{C25464F1-06C7-024E-9527-27FFCF01FAEE}" type="presParOf" srcId="{4137A109-99D0-1C40-8266-C373CB714877}" destId="{B7868026-D99A-144F-B965-9EDF6935815D}" srcOrd="0" destOrd="0" presId="urn:microsoft.com/office/officeart/2005/8/layout/vList5"/>
    <dgm:cxn modelId="{48E245AD-C801-6847-A75A-BDC04619EF84}" type="presParOf" srcId="{1C1CA45A-F793-6F43-8EE2-75C940693FE3}" destId="{4D4A27AE-46E7-3542-92ED-6008981EF56B}" srcOrd="1" destOrd="0" presId="urn:microsoft.com/office/officeart/2005/8/layout/vList5"/>
    <dgm:cxn modelId="{13582313-9F87-3545-A935-E8363DD2BDD3}" type="presParOf" srcId="{1C1CA45A-F793-6F43-8EE2-75C940693FE3}" destId="{45D65901-1A7A-C74A-8CEE-0A0F7EF40781}" srcOrd="2" destOrd="0" presId="urn:microsoft.com/office/officeart/2005/8/layout/vList5"/>
    <dgm:cxn modelId="{77D3FD01-AB2E-DA4F-9C18-0F1F9C2930A3}" type="presParOf" srcId="{45D65901-1A7A-C74A-8CEE-0A0F7EF40781}" destId="{155758EF-131E-9D4F-B56F-E7669135FCE0}" srcOrd="0" destOrd="0" presId="urn:microsoft.com/office/officeart/2005/8/layout/vList5"/>
    <dgm:cxn modelId="{96D0450E-94E7-124C-B9A7-1207311A0B41}" type="presParOf" srcId="{1C1CA45A-F793-6F43-8EE2-75C940693FE3}" destId="{E3F03283-9AE6-BE4C-A738-4CEF5D7E3405}" srcOrd="3" destOrd="0" presId="urn:microsoft.com/office/officeart/2005/8/layout/vList5"/>
    <dgm:cxn modelId="{5C2713A3-4B68-9D4A-9503-D4B7691CE799}" type="presParOf" srcId="{1C1CA45A-F793-6F43-8EE2-75C940693FE3}" destId="{4B99EB12-55FB-7345-AE92-72E137F0A69C}" srcOrd="4" destOrd="0" presId="urn:microsoft.com/office/officeart/2005/8/layout/vList5"/>
    <dgm:cxn modelId="{593B45B7-B4B1-CE4B-AF7E-441C2491A4FB}" type="presParOf" srcId="{4B99EB12-55FB-7345-AE92-72E137F0A69C}" destId="{DD2F5EE8-C013-164A-A2A2-07C862C73CF7}"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8</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F428E95F-C1B6-4345-AF7D-899AC7FA995F}"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EE55FDEA-6888-5942-84E4-638246E5441B}" type="presOf" srcId="{C2945230-8A03-49C4-AE11-508590DB7B8B}" destId="{DDF5C611-4A57-4D32-BF4D-AD972F42154B}" srcOrd="0" destOrd="0" presId="urn:microsoft.com/office/officeart/2005/8/layout/venn1"/>
    <dgm:cxn modelId="{3EF5EF64-8F0C-CE4D-A33B-814F4A55A202}"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Lst>
  <dgm:cxnLst>
    <dgm:cxn modelId="{2187DEB8-E938-4F4A-A64C-2BB64EB7DF79}" type="presOf" srcId="{02BA0D8E-884F-D545-BFF7-95207C181DAB}" destId="{5325FF06-BE85-6742-9495-B8F42BFC9B7F}"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0-13</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C697B71C-A06A-B343-B2FE-F2BCEBC3CD8A}" type="presOf" srcId="{C2945230-8A03-49C4-AE11-508590DB7B8B}" destId="{DDF5C611-4A57-4D32-BF4D-AD972F42154B}" srcOrd="0" destOrd="0" presId="urn:microsoft.com/office/officeart/2005/8/layout/venn1"/>
    <dgm:cxn modelId="{8D2EBB50-94E1-5C40-8A74-4E6CFCAB709B}"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625A59C3-3143-B645-A5F6-33548B46B6AE}"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25C73-5C82-454A-AF23-58BAC3E61242}">
      <dsp:nvSpPr>
        <dsp:cNvPr id="0" name=""/>
        <dsp:cNvSpPr/>
      </dsp:nvSpPr>
      <dsp:spPr>
        <a:xfrm rot="5400000">
          <a:off x="3156736" y="509448"/>
          <a:ext cx="2997294" cy="272772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1920" tIns="60960" rIns="121920" bIns="60960" numCol="1" spcCol="1270" anchor="ctr" anchorCtr="0">
          <a:noAutofit/>
        </a:bodyPr>
        <a:lstStyle/>
        <a:p>
          <a:pPr marL="285750" lvl="1" indent="-285750" algn="l" defTabSz="1422400" rtl="0">
            <a:lnSpc>
              <a:spcPct val="90000"/>
            </a:lnSpc>
            <a:spcBef>
              <a:spcPct val="0"/>
            </a:spcBef>
            <a:spcAft>
              <a:spcPct val="15000"/>
            </a:spcAft>
            <a:buChar char="•"/>
          </a:pPr>
          <a:r>
            <a:rPr lang="en-CA" sz="3200" kern="1200" dirty="0"/>
            <a:t>file template</a:t>
          </a:r>
        </a:p>
        <a:p>
          <a:pPr marL="285750" lvl="1" indent="-285750" algn="l" defTabSz="1422400" rtl="0">
            <a:lnSpc>
              <a:spcPct val="90000"/>
            </a:lnSpc>
            <a:spcBef>
              <a:spcPct val="0"/>
            </a:spcBef>
            <a:spcAft>
              <a:spcPct val="15000"/>
            </a:spcAft>
            <a:buChar char="•"/>
          </a:pPr>
          <a:r>
            <a:rPr lang="en-CA" sz="3200" kern="1200" dirty="0"/>
            <a:t>HyperDocs</a:t>
          </a:r>
        </a:p>
        <a:p>
          <a:pPr marL="285750" lvl="1" indent="-285750" algn="l" defTabSz="1422400" rtl="0">
            <a:lnSpc>
              <a:spcPct val="90000"/>
            </a:lnSpc>
            <a:spcBef>
              <a:spcPct val="0"/>
            </a:spcBef>
            <a:spcAft>
              <a:spcPct val="15000"/>
            </a:spcAft>
            <a:buChar char="•"/>
          </a:pPr>
          <a:r>
            <a:rPr lang="en-CA" sz="3200" kern="1200" dirty="0"/>
            <a:t>T1PAD</a:t>
          </a:r>
        </a:p>
      </dsp:txBody>
      <dsp:txXfrm rot="-5400000">
        <a:off x="3291522" y="507818"/>
        <a:ext cx="2594565" cy="2730982"/>
      </dsp:txXfrm>
    </dsp:sp>
    <dsp:sp modelId="{43DEFE45-1517-3942-920E-48C520E9C0B4}">
      <dsp:nvSpPr>
        <dsp:cNvPr id="0" name=""/>
        <dsp:cNvSpPr/>
      </dsp:nvSpPr>
      <dsp:spPr>
        <a:xfrm>
          <a:off x="555" y="0"/>
          <a:ext cx="3290967" cy="37466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213360" bIns="106680" numCol="1" spcCol="1270" anchor="ctr" anchorCtr="0">
          <a:noAutofit/>
        </a:bodyPr>
        <a:lstStyle/>
        <a:p>
          <a:pPr marL="0" lvl="0" indent="0" algn="ctr" defTabSz="2489200" rtl="0">
            <a:lnSpc>
              <a:spcPct val="90000"/>
            </a:lnSpc>
            <a:spcBef>
              <a:spcPct val="0"/>
            </a:spcBef>
            <a:spcAft>
              <a:spcPct val="35000"/>
            </a:spcAft>
            <a:buNone/>
          </a:pPr>
          <a:r>
            <a:rPr lang="en-CA" sz="5600" kern="1200" dirty="0"/>
            <a:t>In this Chapter</a:t>
          </a:r>
        </a:p>
      </dsp:txBody>
      <dsp:txXfrm>
        <a:off x="161207" y="160652"/>
        <a:ext cx="2969663" cy="34253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868026-D99A-144F-B965-9EDF6935815D}">
      <dsp:nvSpPr>
        <dsp:cNvPr id="0" name=""/>
        <dsp:cNvSpPr/>
      </dsp:nvSpPr>
      <dsp:spPr>
        <a:xfrm>
          <a:off x="1501106" y="2325"/>
          <a:ext cx="1688744" cy="153459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US" sz="2500" kern="1200" dirty="0"/>
            <a:t>variance </a:t>
          </a:r>
          <a:r>
            <a:rPr lang="mr-IN" sz="2500" kern="1200" dirty="0"/>
            <a:t>–</a:t>
          </a:r>
          <a:r>
            <a:rPr lang="en-US" sz="2500" kern="1200" dirty="0"/>
            <a:t> how to</a:t>
          </a:r>
        </a:p>
      </dsp:txBody>
      <dsp:txXfrm>
        <a:off x="1576019" y="77238"/>
        <a:ext cx="1538918" cy="1384771"/>
      </dsp:txXfrm>
    </dsp:sp>
    <dsp:sp modelId="{155758EF-131E-9D4F-B56F-E7669135FCE0}">
      <dsp:nvSpPr>
        <dsp:cNvPr id="0" name=""/>
        <dsp:cNvSpPr/>
      </dsp:nvSpPr>
      <dsp:spPr>
        <a:xfrm>
          <a:off x="1501106" y="1613652"/>
          <a:ext cx="1688744" cy="153459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US" sz="2500" kern="1200" dirty="0"/>
            <a:t>snapshot</a:t>
          </a:r>
        </a:p>
      </dsp:txBody>
      <dsp:txXfrm>
        <a:off x="1576019" y="1688565"/>
        <a:ext cx="1538918" cy="1384771"/>
      </dsp:txXfrm>
    </dsp:sp>
    <dsp:sp modelId="{DD2F5EE8-C013-164A-A2A2-07C862C73CF7}">
      <dsp:nvSpPr>
        <dsp:cNvPr id="0" name=""/>
        <dsp:cNvSpPr/>
      </dsp:nvSpPr>
      <dsp:spPr>
        <a:xfrm>
          <a:off x="1501106" y="3224980"/>
          <a:ext cx="1688744" cy="153459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US" sz="2500" kern="1200" dirty="0"/>
            <a:t>prior-year</a:t>
          </a:r>
        </a:p>
      </dsp:txBody>
      <dsp:txXfrm>
        <a:off x="1576019" y="3299893"/>
        <a:ext cx="1538918" cy="138477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70B7B9-5BFA-46FF-B17C-64685C4FACE5}">
      <dsp:nvSpPr>
        <dsp:cNvPr id="0" name=""/>
        <dsp:cNvSpPr/>
      </dsp:nvSpPr>
      <dsp:spPr>
        <a:xfrm rot="5400000">
          <a:off x="2329835" y="-273263"/>
          <a:ext cx="2112181" cy="3186753"/>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3820" tIns="41910" rIns="83820" bIns="41910" numCol="1" spcCol="1270" anchor="ctr" anchorCtr="0">
          <a:noAutofit/>
        </a:bodyPr>
        <a:lstStyle/>
        <a:p>
          <a:pPr marL="228600" lvl="1" indent="-228600" algn="l" defTabSz="977900" rtl="0">
            <a:lnSpc>
              <a:spcPct val="90000"/>
            </a:lnSpc>
            <a:spcBef>
              <a:spcPct val="0"/>
            </a:spcBef>
            <a:spcAft>
              <a:spcPct val="15000"/>
            </a:spcAft>
            <a:buChar char="•"/>
          </a:pPr>
          <a:r>
            <a:rPr lang="en-CA" sz="2200" kern="1200" dirty="0"/>
            <a:t>F4 &gt; T1Pad</a:t>
          </a:r>
        </a:p>
        <a:p>
          <a:pPr marL="228600" lvl="1" indent="-228600" algn="l" defTabSz="977900" rtl="0">
            <a:lnSpc>
              <a:spcPct val="90000"/>
            </a:lnSpc>
            <a:spcBef>
              <a:spcPct val="0"/>
            </a:spcBef>
            <a:spcAft>
              <a:spcPct val="15000"/>
            </a:spcAft>
            <a:buChar char="•"/>
          </a:pPr>
          <a:r>
            <a:rPr lang="en-CA" sz="2200" kern="1200" dirty="0"/>
            <a:t>Select &gt; Yes</a:t>
          </a:r>
        </a:p>
        <a:p>
          <a:pPr marL="228600" lvl="1" indent="-228600" algn="l" defTabSz="977900" rtl="0">
            <a:lnSpc>
              <a:spcPct val="90000"/>
            </a:lnSpc>
            <a:spcBef>
              <a:spcPct val="0"/>
            </a:spcBef>
            <a:spcAft>
              <a:spcPct val="15000"/>
            </a:spcAft>
            <a:buChar char="•"/>
          </a:pPr>
          <a:r>
            <a:rPr lang="en-CA" sz="2200" kern="1200" dirty="0"/>
            <a:t>Click </a:t>
          </a:r>
          <a:r>
            <a:rPr lang="en-CA" sz="2200" i="1" kern="1200" dirty="0"/>
            <a:t>Pay in Full</a:t>
          </a:r>
        </a:p>
        <a:p>
          <a:pPr marL="228600" lvl="1" indent="-228600" algn="l" defTabSz="977900" rtl="0">
            <a:lnSpc>
              <a:spcPct val="90000"/>
            </a:lnSpc>
            <a:spcBef>
              <a:spcPct val="0"/>
            </a:spcBef>
            <a:spcAft>
              <a:spcPct val="15000"/>
            </a:spcAft>
            <a:buChar char="•"/>
          </a:pPr>
          <a:r>
            <a:rPr lang="en-CA" sz="2200" i="0" kern="1200" dirty="0"/>
            <a:t>Go to </a:t>
          </a:r>
          <a:r>
            <a:rPr lang="en-CA" sz="2200" i="1" kern="1200" dirty="0"/>
            <a:t>EFILE &gt; EFILE PreAuthorized Debit</a:t>
          </a:r>
          <a:endParaRPr lang="en-CA" sz="2200" i="0" kern="1200" dirty="0"/>
        </a:p>
      </dsp:txBody>
      <dsp:txXfrm rot="-5400000">
        <a:off x="1792549" y="367131"/>
        <a:ext cx="3083645" cy="1905965"/>
      </dsp:txXfrm>
    </dsp:sp>
    <dsp:sp modelId="{3E297B75-DC03-4167-ABD4-82BA475F1A55}">
      <dsp:nvSpPr>
        <dsp:cNvPr id="0" name=""/>
        <dsp:cNvSpPr/>
      </dsp:nvSpPr>
      <dsp:spPr>
        <a:xfrm>
          <a:off x="0" y="0"/>
          <a:ext cx="1792549" cy="264022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CA" sz="2800" kern="1200" dirty="0"/>
            <a:t>T1Pad</a:t>
          </a:r>
        </a:p>
      </dsp:txBody>
      <dsp:txXfrm>
        <a:off x="87505" y="87505"/>
        <a:ext cx="1617539" cy="246521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3</a:t>
          </a:r>
        </a:p>
      </dsp:txBody>
      <dsp:txXfrm>
        <a:off x="179383" y="198196"/>
        <a:ext cx="866141" cy="86614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297B75-DC03-4167-ABD4-82BA475F1A55}">
      <dsp:nvSpPr>
        <dsp:cNvPr id="0" name=""/>
        <dsp:cNvSpPr/>
      </dsp:nvSpPr>
      <dsp:spPr>
        <a:xfrm>
          <a:off x="635904" y="1289"/>
          <a:ext cx="3707493" cy="263764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CA" sz="2800" kern="1200" dirty="0"/>
            <a:t>Express Notice of Assessment</a:t>
          </a:r>
        </a:p>
      </dsp:txBody>
      <dsp:txXfrm>
        <a:off x="764663" y="130048"/>
        <a:ext cx="3449975" cy="238013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4</a:t>
          </a:r>
        </a:p>
      </dsp:txBody>
      <dsp:txXfrm>
        <a:off x="179383" y="198196"/>
        <a:ext cx="866141" cy="866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BCD09E-0369-4758-A62E-75B53FCA7B40}">
      <dsp:nvSpPr>
        <dsp:cNvPr id="0" name=""/>
        <dsp:cNvSpPr/>
      </dsp:nvSpPr>
      <dsp:spPr>
        <a:xfrm rot="5400000">
          <a:off x="1954645" y="271474"/>
          <a:ext cx="3056939" cy="3278225"/>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rtl="0">
            <a:lnSpc>
              <a:spcPct val="90000"/>
            </a:lnSpc>
            <a:spcBef>
              <a:spcPct val="0"/>
            </a:spcBef>
            <a:spcAft>
              <a:spcPct val="15000"/>
            </a:spcAft>
            <a:buChar char="•"/>
          </a:pPr>
          <a:r>
            <a:rPr lang="en-CA" sz="2100" kern="1200" dirty="0"/>
            <a:t>Create new return</a:t>
          </a:r>
        </a:p>
        <a:p>
          <a:pPr marL="228600" lvl="1" indent="-228600" algn="l" defTabSz="933450" rtl="0">
            <a:lnSpc>
              <a:spcPct val="90000"/>
            </a:lnSpc>
            <a:spcBef>
              <a:spcPct val="0"/>
            </a:spcBef>
            <a:spcAft>
              <a:spcPct val="15000"/>
            </a:spcAft>
            <a:buChar char="•"/>
          </a:pPr>
          <a:r>
            <a:rPr lang="en-CA" sz="2100" kern="1200" dirty="0"/>
            <a:t>Enter default data (Province, Elections Canada, etc.)</a:t>
          </a:r>
        </a:p>
        <a:p>
          <a:pPr marL="228600" lvl="1" indent="-228600" algn="l" defTabSz="933450" rtl="0">
            <a:lnSpc>
              <a:spcPct val="90000"/>
            </a:lnSpc>
            <a:spcBef>
              <a:spcPct val="0"/>
            </a:spcBef>
            <a:spcAft>
              <a:spcPct val="15000"/>
            </a:spcAft>
            <a:buChar char="•"/>
          </a:pPr>
          <a:r>
            <a:rPr lang="en-CA" sz="2100" kern="1200" dirty="0"/>
            <a:t>Open default forms (T4, T5, etc.)</a:t>
          </a:r>
        </a:p>
        <a:p>
          <a:pPr marL="228600" lvl="1" indent="-228600" algn="l" defTabSz="933450" rtl="0">
            <a:lnSpc>
              <a:spcPct val="90000"/>
            </a:lnSpc>
            <a:spcBef>
              <a:spcPct val="0"/>
            </a:spcBef>
            <a:spcAft>
              <a:spcPct val="15000"/>
            </a:spcAft>
            <a:buChar char="•"/>
          </a:pPr>
          <a:r>
            <a:rPr lang="en-CA" sz="2100" kern="1200" dirty="0"/>
            <a:t>Save file</a:t>
          </a:r>
        </a:p>
        <a:p>
          <a:pPr marL="228600" lvl="1" indent="-228600" algn="l" defTabSz="933450" rtl="0">
            <a:lnSpc>
              <a:spcPct val="90000"/>
            </a:lnSpc>
            <a:spcBef>
              <a:spcPct val="0"/>
            </a:spcBef>
            <a:spcAft>
              <a:spcPct val="15000"/>
            </a:spcAft>
            <a:buChar char="•"/>
          </a:pPr>
          <a:r>
            <a:rPr lang="en-CA" sz="2100" kern="1200" dirty="0"/>
            <a:t>Enter file name in Module &gt; Templates</a:t>
          </a:r>
        </a:p>
      </dsp:txBody>
      <dsp:txXfrm rot="-5400000">
        <a:off x="1844003" y="531344"/>
        <a:ext cx="3128998" cy="2758485"/>
      </dsp:txXfrm>
    </dsp:sp>
    <dsp:sp modelId="{593802B7-0668-1942-9C36-B879F080D8EA}">
      <dsp:nvSpPr>
        <dsp:cNvPr id="0" name=""/>
        <dsp:cNvSpPr/>
      </dsp:nvSpPr>
      <dsp:spPr>
        <a:xfrm>
          <a:off x="0" y="0"/>
          <a:ext cx="1844002" cy="382117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marL="0" lvl="0" indent="0" algn="ctr" defTabSz="1600200" rtl="0">
            <a:lnSpc>
              <a:spcPct val="90000"/>
            </a:lnSpc>
            <a:spcBef>
              <a:spcPct val="0"/>
            </a:spcBef>
            <a:spcAft>
              <a:spcPct val="35000"/>
            </a:spcAft>
            <a:buNone/>
          </a:pPr>
          <a:r>
            <a:rPr lang="en-CA" sz="3600" kern="1200" dirty="0"/>
            <a:t>How to</a:t>
          </a:r>
        </a:p>
      </dsp:txBody>
      <dsp:txXfrm>
        <a:off x="90017" y="90017"/>
        <a:ext cx="1663968" cy="364114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022350">
            <a:lnSpc>
              <a:spcPct val="90000"/>
            </a:lnSpc>
            <a:spcBef>
              <a:spcPct val="0"/>
            </a:spcBef>
            <a:spcAft>
              <a:spcPct val="35000"/>
            </a:spcAft>
            <a:buNone/>
          </a:pPr>
          <a:r>
            <a:rPr lang="en-US" sz="2300" b="1" kern="1200" dirty="0">
              <a:solidFill>
                <a:schemeClr val="bg1"/>
              </a:solidFill>
            </a:rPr>
            <a:t>Pages 6-7</a:t>
          </a:r>
        </a:p>
      </dsp:txBody>
      <dsp:txXfrm>
        <a:off x="179383" y="198196"/>
        <a:ext cx="866141" cy="86614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21120-59A8-40A6-B981-D00278D9EF37}">
      <dsp:nvSpPr>
        <dsp:cNvPr id="0" name=""/>
        <dsp:cNvSpPr/>
      </dsp:nvSpPr>
      <dsp:spPr>
        <a:xfrm>
          <a:off x="914394" y="152398"/>
          <a:ext cx="4267211" cy="2057403"/>
        </a:xfrm>
        <a:prstGeom prst="roundRect">
          <a:avLst>
            <a:gd name="adj" fmla="val 1667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CA" sz="2000" kern="1200" dirty="0"/>
            <a:t>a convenient way to attach source documents to a tax file</a:t>
          </a:r>
          <a:endParaRPr lang="en-US" sz="2000" kern="1200" dirty="0"/>
        </a:p>
      </dsp:txBody>
      <dsp:txXfrm>
        <a:off x="1014846" y="252850"/>
        <a:ext cx="4066307" cy="185649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7</a:t>
          </a:r>
        </a:p>
      </dsp:txBody>
      <dsp:txXfrm>
        <a:off x="179383" y="198196"/>
        <a:ext cx="866141" cy="86614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868026-D99A-144F-B965-9EDF6935815D}">
      <dsp:nvSpPr>
        <dsp:cNvPr id="0" name=""/>
        <dsp:cNvSpPr/>
      </dsp:nvSpPr>
      <dsp:spPr>
        <a:xfrm>
          <a:off x="1501106" y="2325"/>
          <a:ext cx="1688744" cy="153459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US" sz="1700" kern="1200" dirty="0"/>
            <a:t>HyperDocs management</a:t>
          </a:r>
        </a:p>
      </dsp:txBody>
      <dsp:txXfrm>
        <a:off x="1576019" y="77238"/>
        <a:ext cx="1538918" cy="1384771"/>
      </dsp:txXfrm>
    </dsp:sp>
    <dsp:sp modelId="{155758EF-131E-9D4F-B56F-E7669135FCE0}">
      <dsp:nvSpPr>
        <dsp:cNvPr id="0" name=""/>
        <dsp:cNvSpPr/>
      </dsp:nvSpPr>
      <dsp:spPr>
        <a:xfrm>
          <a:off x="1501106" y="1613652"/>
          <a:ext cx="1688744" cy="153459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US" sz="1700" kern="1200" dirty="0"/>
            <a:t>Removing documents</a:t>
          </a:r>
        </a:p>
      </dsp:txBody>
      <dsp:txXfrm>
        <a:off x="1576019" y="1688565"/>
        <a:ext cx="1538918" cy="1384771"/>
      </dsp:txXfrm>
    </dsp:sp>
    <dsp:sp modelId="{DD2F5EE8-C013-164A-A2A2-07C862C73CF7}">
      <dsp:nvSpPr>
        <dsp:cNvPr id="0" name=""/>
        <dsp:cNvSpPr/>
      </dsp:nvSpPr>
      <dsp:spPr>
        <a:xfrm>
          <a:off x="1501106" y="3224980"/>
          <a:ext cx="1688744" cy="153459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US" sz="1700" kern="1200" dirty="0"/>
            <a:t>Synchronizing</a:t>
          </a:r>
        </a:p>
      </dsp:txBody>
      <dsp:txXfrm>
        <a:off x="1576019" y="3299893"/>
        <a:ext cx="1538918" cy="13847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8</a:t>
          </a:r>
        </a:p>
      </dsp:txBody>
      <dsp:txXfrm>
        <a:off x="179383" y="198196"/>
        <a:ext cx="866141" cy="86614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rPr>
            <a:t>Page 10-13</a:t>
          </a:r>
        </a:p>
      </dsp:txBody>
      <dsp:txXfrm>
        <a:off x="179383" y="198196"/>
        <a:ext cx="866141" cy="866141"/>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19-11-24</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1/24/19</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Express Notice of Assessment starts on page14</a:t>
            </a:r>
          </a:p>
          <a:p>
            <a:endParaRPr lang="en-CA" baseline="0" dirty="0"/>
          </a:p>
          <a:p>
            <a:r>
              <a:rPr lang="en-CA" sz="1200" kern="1200" dirty="0">
                <a:solidFill>
                  <a:schemeClr val="tx1"/>
                </a:solidFill>
                <a:effectLst/>
                <a:latin typeface="+mn-lt"/>
                <a:ea typeface="+mn-ea"/>
                <a:cs typeface="+mn-cs"/>
              </a:rPr>
              <a:t>Express Notice of Assessment (NOA) is a CRA service that allows you to view the basic result of an assessment immediately after filing a return and to receive the full notice of assessment the next day.</a:t>
            </a:r>
          </a:p>
          <a:p>
            <a:r>
              <a:rPr lang="en-CA" sz="1200" kern="1200" dirty="0">
                <a:solidFill>
                  <a:schemeClr val="tx1"/>
                </a:solidFill>
                <a:effectLst/>
                <a:latin typeface="+mn-lt"/>
                <a:ea typeface="+mn-ea"/>
                <a:cs typeface="+mn-cs"/>
              </a:rPr>
              <a:t>This instant assessment provides the status of your client’s return with a summary of the refund, amount owing, or a zero balance and deposit information, if applicable.</a:t>
            </a:r>
          </a:p>
          <a:p>
            <a:r>
              <a:rPr lang="en-CA" sz="1200" kern="1200" dirty="0">
                <a:solidFill>
                  <a:schemeClr val="tx1"/>
                </a:solidFill>
                <a:effectLst/>
                <a:latin typeface="+mn-lt"/>
                <a:ea typeface="+mn-ea"/>
                <a:cs typeface="+mn-cs"/>
              </a:rPr>
              <a:t>The full notice of assessment provides an account summary with the result of the assessed return showing a refund, a zero balance, or a balance owing, tax assessment summary, explanation of changes and other information, and RRSP/PRPP deduction limit statement. It may also contain the Home Buyers' Plan statement and Lifelong Learning Plan statement.</a:t>
            </a:r>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3329420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troduce the template discussion on Page 5</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CA" sz="1200" kern="1200" dirty="0">
                <a:solidFill>
                  <a:schemeClr val="tx1"/>
                </a:solidFill>
                <a:effectLst/>
                <a:latin typeface="+mn-lt"/>
                <a:ea typeface="+mn-ea"/>
                <a:cs typeface="+mn-cs"/>
              </a:rPr>
              <a:t>If you find that you are constantly checking the same boxes on </a:t>
            </a:r>
            <a:r>
              <a:rPr lang="en-CA" sz="1200" kern="1200" dirty="0" err="1">
                <a:solidFill>
                  <a:schemeClr val="tx1"/>
                </a:solidFill>
                <a:effectLst/>
                <a:latin typeface="+mn-lt"/>
                <a:ea typeface="+mn-ea"/>
                <a:cs typeface="+mn-cs"/>
              </a:rPr>
              <a:t>ProFile’s</a:t>
            </a:r>
            <a:r>
              <a:rPr lang="en-CA" sz="1200" kern="1200" dirty="0">
                <a:solidFill>
                  <a:schemeClr val="tx1"/>
                </a:solidFill>
                <a:effectLst/>
                <a:latin typeface="+mn-lt"/>
                <a:ea typeface="+mn-ea"/>
                <a:cs typeface="+mn-cs"/>
              </a:rPr>
              <a:t> Info page (for example, the Elections Canada question), or if you find that most of your clients live in the same city or province, you can setup a file template that automatically fills in certain fields with a uniform set of data. This capability is called a file template and, once you’ve set it up, Profile automatically fills in the fields of any new tax as specified in that template.</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In addition to pre-filling fields that you specified in the template, you can also set the forms (and the sequence of forms) you want ProFile to open when you first create a new file. You can create a separate file template for each ProFile module. </a:t>
            </a:r>
            <a:endParaRPr lang="en-US" sz="1200" kern="1200" dirty="0">
              <a:solidFill>
                <a:schemeClr val="tx1"/>
              </a:solidFill>
              <a:effectLst/>
              <a:latin typeface="+mn-lt"/>
              <a:ea typeface="+mn-ea"/>
              <a:cs typeface="+mn-cs"/>
            </a:endParaRPr>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8928424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tailed steps start at </a:t>
            </a:r>
            <a:r>
              <a:rPr lang="en-US" baseline="0" dirty="0" err="1"/>
              <a:t>Pg</a:t>
            </a:r>
            <a:r>
              <a:rPr lang="en-US" baseline="0" dirty="0"/>
              <a:t> 6</a:t>
            </a:r>
          </a:p>
          <a:p>
            <a:endParaRPr lang="en-US" baseline="0" dirty="0"/>
          </a:p>
          <a:p>
            <a:pPr marL="171450" indent="-171450">
              <a:buFontTx/>
              <a:buChar char="-"/>
            </a:pPr>
            <a:r>
              <a:rPr lang="en-US" baseline="0" dirty="0"/>
              <a:t>Open existing return and Save As</a:t>
            </a:r>
          </a:p>
          <a:p>
            <a:pPr marL="171450" indent="-171450">
              <a:buFontTx/>
              <a:buChar char="-"/>
            </a:pPr>
            <a:r>
              <a:rPr lang="en-US" baseline="0" dirty="0"/>
              <a:t>Make changes to tax file as required</a:t>
            </a:r>
          </a:p>
          <a:p>
            <a:pPr marL="171450" indent="-171450">
              <a:buFontTx/>
              <a:buChar char="-"/>
            </a:pPr>
            <a:r>
              <a:rPr lang="en-US" baseline="0" dirty="0"/>
              <a:t>Open </a:t>
            </a:r>
            <a:r>
              <a:rPr lang="en-US" baseline="0" dirty="0" err="1"/>
              <a:t>ReFile</a:t>
            </a:r>
            <a:r>
              <a:rPr lang="en-US" baseline="0" dirty="0"/>
              <a:t> Form (F4 &gt; T1Refile) </a:t>
            </a:r>
          </a:p>
          <a:p>
            <a:pPr marL="171450" indent="-171450">
              <a:buFontTx/>
              <a:buChar char="-"/>
            </a:pPr>
            <a:r>
              <a:rPr lang="en-US" baseline="0" dirty="0"/>
              <a:t>Ensure SIN is indicated</a:t>
            </a:r>
          </a:p>
          <a:p>
            <a:pPr marL="171450" indent="-171450">
              <a:buFontTx/>
              <a:buChar char="-"/>
            </a:pPr>
            <a:r>
              <a:rPr lang="en-US" baseline="0" dirty="0"/>
              <a:t>Enter current date in date field</a:t>
            </a:r>
          </a:p>
          <a:p>
            <a:pPr marL="171450" indent="-171450">
              <a:buFontTx/>
              <a:buChar char="-"/>
            </a:pPr>
            <a:r>
              <a:rPr lang="en-US" baseline="0" dirty="0"/>
              <a:t>Check the Box to indicate Amended Return</a:t>
            </a:r>
          </a:p>
          <a:p>
            <a:pPr marL="171450" indent="-171450">
              <a:buFontTx/>
              <a:buChar char="-"/>
            </a:pPr>
            <a:r>
              <a:rPr lang="en-US" baseline="0" dirty="0"/>
              <a:t>Go through form questions at bottom of Page</a:t>
            </a:r>
          </a:p>
          <a:p>
            <a:pPr marL="171450" indent="-171450">
              <a:buFontTx/>
              <a:buChar char="-"/>
            </a:pPr>
            <a:r>
              <a:rPr lang="en-US" baseline="0" dirty="0"/>
              <a:t>Open T183 </a:t>
            </a:r>
          </a:p>
          <a:p>
            <a:pPr marL="171450" indent="-171450">
              <a:buFontTx/>
              <a:buChar char="-"/>
            </a:pPr>
            <a:r>
              <a:rPr lang="en-US" baseline="0" dirty="0"/>
              <a:t>Notice the R net to the tax year at top right</a:t>
            </a:r>
          </a:p>
          <a:p>
            <a:pPr marL="171450" indent="-171450">
              <a:buFontTx/>
              <a:buChar char="-"/>
            </a:pPr>
            <a:r>
              <a:rPr lang="en-US" baseline="0" dirty="0"/>
              <a:t>Check the “Want to REFILE like you EFILE) Box </a:t>
            </a:r>
          </a:p>
          <a:p>
            <a:pPr marL="171450" indent="-171450">
              <a:buFontTx/>
              <a:buChar char="-"/>
            </a:pPr>
            <a:r>
              <a:rPr lang="en-US" baseline="0" dirty="0"/>
              <a:t>OBTAIN SIGNATURE ON THE NEW T183 </a:t>
            </a:r>
          </a:p>
          <a:p>
            <a:pPr marL="171450" indent="-171450">
              <a:buFontTx/>
              <a:buChar char="-"/>
            </a:pPr>
            <a:r>
              <a:rPr lang="en-US" baseline="0" dirty="0"/>
              <a:t>Go to INFO Page and Point to REFILE confirmation</a:t>
            </a:r>
          </a:p>
          <a:p>
            <a:pPr marL="171450" indent="-171450">
              <a:buFontTx/>
              <a:buChar cha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319023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troduce the </a:t>
            </a:r>
            <a:r>
              <a:rPr lang="en-US" baseline="0" dirty="0" err="1"/>
              <a:t>HypeDocs</a:t>
            </a:r>
            <a:r>
              <a:rPr lang="en-US" baseline="0" dirty="0"/>
              <a:t> on Page 7</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sz="1200" kern="1200" dirty="0">
                <a:solidFill>
                  <a:schemeClr val="tx1"/>
                </a:solidFill>
                <a:effectLst/>
                <a:latin typeface="+mn-lt"/>
                <a:ea typeface="+mn-ea"/>
                <a:cs typeface="+mn-cs"/>
              </a:rPr>
              <a:t>It may happen that you’d like to attach or link an electronic document to a tax file. You may, for example, want to attach a PDF of a CRA document such as a tax ruling or an interpretation bulletin. Or you may want to link to an image file itemizing details of charitable donations or medical receipts.  With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HyperDocs, you can do exactly that. In other words, you can attach multiple documents, in any format, to a form or field of a T1 retur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s important to note that any HyperDocs document attached to a tax file will be stored for internal purposes only. This means that no HyperDocs attachment will ever get transmitted to CRA.</a:t>
            </a:r>
          </a:p>
          <a:p>
            <a:r>
              <a:rPr lang="en-US" sz="1200" kern="120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1036303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fer to Page 7 and describe</a:t>
            </a:r>
            <a:r>
              <a:rPr lang="en-US" baseline="0" dirty="0"/>
              <a:t> what is HyperDocs and how you attach documents</a:t>
            </a:r>
          </a:p>
          <a:p>
            <a:pPr lvl="0"/>
            <a:endParaRPr lang="en-US" baseline="0" dirty="0"/>
          </a:p>
          <a:p>
            <a:pPr lvl="0"/>
            <a:r>
              <a:rPr lang="en-US" dirty="0"/>
              <a:t>Use</a:t>
            </a:r>
            <a:r>
              <a:rPr lang="en-US" baseline="0" dirty="0"/>
              <a:t> HyperDocs to attach a document to a line of the return or to the return as a whole.</a:t>
            </a:r>
          </a:p>
          <a:p>
            <a:pPr lvl="0"/>
            <a:endParaRPr lang="en-US" baseline="0" dirty="0"/>
          </a:p>
          <a:p>
            <a:pPr lvl="0"/>
            <a:r>
              <a:rPr lang="en-US" baseline="0" dirty="0"/>
              <a:t>Discuss the difference between Embed and Link (Page 8)</a:t>
            </a:r>
            <a:endParaRPr lang="en-US"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460265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8 and discuss HyperDocs management</a:t>
            </a:r>
          </a:p>
          <a:p>
            <a:endParaRPr lang="en-US" baseline="0" dirty="0"/>
          </a:p>
          <a:p>
            <a:r>
              <a:rPr lang="en-US" sz="1200" kern="1200" dirty="0">
                <a:solidFill>
                  <a:schemeClr val="tx1"/>
                </a:solidFill>
                <a:effectLst/>
                <a:latin typeface="+mn-lt"/>
                <a:ea typeface="+mn-ea"/>
                <a:cs typeface="+mn-cs"/>
              </a:rPr>
              <a:t>Whether you add a HyperDocs to the tax file in general or to a specific area of the tax file, you will find all attached documents in the HyperDocs window. To view all attached documents:</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 Go to </a:t>
            </a:r>
            <a:r>
              <a:rPr lang="en-CA" sz="1200" i="1" kern="1200" dirty="0">
                <a:solidFill>
                  <a:schemeClr val="tx1"/>
                </a:solidFill>
                <a:effectLst/>
                <a:latin typeface="+mn-lt"/>
                <a:ea typeface="+mn-ea"/>
                <a:cs typeface="+mn-cs"/>
              </a:rPr>
              <a:t>File &gt; HyperDoc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ll attached documents appear in the HyperDocs window along with any comments that you entered. The HyperDocs window also lists key information that includes:</a:t>
            </a:r>
          </a:p>
          <a:p>
            <a:pPr lvl="0"/>
            <a:r>
              <a:rPr lang="en-US" sz="1200" kern="1200" dirty="0">
                <a:solidFill>
                  <a:schemeClr val="tx1"/>
                </a:solidFill>
                <a:effectLst/>
                <a:latin typeface="+mn-lt"/>
                <a:ea typeface="+mn-ea"/>
                <a:cs typeface="+mn-cs"/>
              </a:rPr>
              <a:t>The date the document was attached and/or modified</a:t>
            </a:r>
          </a:p>
          <a:p>
            <a:pPr lvl="0"/>
            <a:r>
              <a:rPr lang="en-US" sz="1200" kern="1200" dirty="0">
                <a:solidFill>
                  <a:schemeClr val="tx1"/>
                </a:solidFill>
                <a:effectLst/>
                <a:latin typeface="+mn-lt"/>
                <a:ea typeface="+mn-ea"/>
                <a:cs typeface="+mn-cs"/>
              </a:rPr>
              <a:t>The process you chose to attach the file (linked or embedded)</a:t>
            </a:r>
          </a:p>
          <a:p>
            <a:r>
              <a:rPr lang="en-US" sz="1200" kern="1200" dirty="0">
                <a:solidFill>
                  <a:schemeClr val="tx1"/>
                </a:solidFill>
                <a:effectLst/>
                <a:latin typeface="+mn-lt"/>
                <a:ea typeface="+mn-ea"/>
                <a:cs typeface="+mn-cs"/>
              </a:rPr>
              <a:t>And the form to which the document was attached</a:t>
            </a:r>
            <a:r>
              <a:rPr lang="en-US" dirty="0">
                <a:effectLst/>
              </a:rPr>
              <a:t> </a:t>
            </a:r>
          </a:p>
          <a:p>
            <a:endParaRPr lang="en-US" baseline="0" dirty="0">
              <a:effectLst/>
            </a:endParaRPr>
          </a:p>
          <a:p>
            <a:r>
              <a:rPr lang="en-US" baseline="0" dirty="0">
                <a:effectLst/>
              </a:rPr>
              <a:t>Also discuss how to remove documents page 9</a:t>
            </a:r>
          </a:p>
          <a:p>
            <a:endParaRPr lang="en-US" baseline="0" dirty="0">
              <a:effectLst/>
            </a:endParaRPr>
          </a:p>
          <a:p>
            <a:r>
              <a:rPr lang="en-US" baseline="0" dirty="0">
                <a:effectLst/>
              </a:rPr>
              <a:t>And discuss Synchronization at Page 10</a:t>
            </a:r>
            <a:endParaRPr lang="en-US" baseline="0" dirty="0"/>
          </a:p>
        </p:txBody>
      </p:sp>
      <p:sp>
        <p:nvSpPr>
          <p:cNvPr id="4" name="Slide Number Placeholder 3"/>
          <p:cNvSpPr>
            <a:spLocks noGrp="1"/>
          </p:cNvSpPr>
          <p:nvPr>
            <p:ph type="sldNum" sz="quarter" idx="10"/>
          </p:nvPr>
        </p:nvSpPr>
        <p:spPr/>
        <p:txBody>
          <a:bodyPr/>
          <a:lstStyle/>
          <a:p>
            <a:fld id="{798D59A4-DDC9-43DD-9D1A-5A16C63BC4A0}" type="slidenum">
              <a:rPr lang="en-US" smtClean="0"/>
              <a:t>8</a:t>
            </a:fld>
            <a:endParaRPr lang="en-US"/>
          </a:p>
        </p:txBody>
      </p:sp>
    </p:spTree>
    <p:extLst>
      <p:ext uri="{BB962C8B-B14F-4D97-AF65-F5344CB8AC3E}">
        <p14:creationId xmlns:p14="http://schemas.microsoft.com/office/powerpoint/2010/main" val="4942608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0 and discuss Variance &amp; Snapshot</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ariance is a feature that you use to highlight significant changes on a tax return. Variance lets you experiment with different scenarios and quickly identify the impact of a change on many key fields. Variance is only calculated for fields with CRA line numbers. So, not all fields (for example on worksheets) will be included in the variance comparison. You activate the variance feature by taking a snapshot of the tax return.</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211261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10 and discuss</a:t>
            </a:r>
            <a:r>
              <a:rPr lang="mr-IN" baseline="0" dirty="0"/>
              <a:t>…</a:t>
            </a:r>
            <a:endParaRPr lang="en-CA" baseline="0" dirty="0"/>
          </a:p>
          <a:p>
            <a:r>
              <a:rPr lang="en-US" sz="1200" b="1" kern="1200" dirty="0">
                <a:solidFill>
                  <a:schemeClr val="tx1"/>
                </a:solidFill>
                <a:effectLst/>
                <a:latin typeface="+mn-lt"/>
                <a:ea typeface="+mn-ea"/>
                <a:cs typeface="+mn-cs"/>
              </a:rPr>
              <a:t>To take a snapshot of your current return</a:t>
            </a:r>
          </a:p>
          <a:p>
            <a:pPr lvl="0"/>
            <a:r>
              <a:rPr lang="en-CA" sz="1200" kern="1200" dirty="0">
                <a:solidFill>
                  <a:schemeClr val="tx1"/>
                </a:solidFill>
                <a:effectLst/>
                <a:latin typeface="+mn-lt"/>
                <a:ea typeface="+mn-ea"/>
                <a:cs typeface="+mn-cs"/>
              </a:rPr>
              <a:t>From the Audit menu, select </a:t>
            </a:r>
            <a:r>
              <a:rPr lang="en-CA" sz="1200" i="1" kern="1200" dirty="0">
                <a:solidFill>
                  <a:schemeClr val="tx1"/>
                </a:solidFill>
                <a:effectLst/>
                <a:latin typeface="+mn-lt"/>
                <a:ea typeface="+mn-ea"/>
                <a:cs typeface="+mn-cs"/>
              </a:rPr>
              <a:t>Snapshot/variance</a:t>
            </a:r>
            <a:r>
              <a:rPr lang="en-CA" sz="1200" kern="1200" dirty="0">
                <a:solidFill>
                  <a:schemeClr val="tx1"/>
                </a:solidFill>
                <a:effectLst/>
                <a:latin typeface="+mn-lt"/>
                <a:ea typeface="+mn-ea"/>
                <a:cs typeface="+mn-cs"/>
              </a:rPr>
              <a:t> and click the </a:t>
            </a:r>
            <a:r>
              <a:rPr lang="en-CA" sz="1200" i="1" kern="1200" dirty="0">
                <a:solidFill>
                  <a:schemeClr val="tx1"/>
                </a:solidFill>
                <a:effectLst/>
                <a:latin typeface="+mn-lt"/>
                <a:ea typeface="+mn-ea"/>
                <a:cs typeface="+mn-cs"/>
              </a:rPr>
              <a:t>New</a:t>
            </a:r>
            <a:r>
              <a:rPr lang="en-CA" sz="1200" kern="1200" dirty="0">
                <a:solidFill>
                  <a:schemeClr val="tx1"/>
                </a:solidFill>
                <a:effectLst/>
                <a:latin typeface="+mn-lt"/>
                <a:ea typeface="+mn-ea"/>
                <a:cs typeface="+mn-cs"/>
              </a:rPr>
              <a:t> button. This will take a picture of the current contents of the tax return</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Give the snapshot a name that will remind you of the purpose of the scenario</a:t>
            </a:r>
          </a:p>
          <a:p>
            <a:pPr lvl="0"/>
            <a:r>
              <a:rPr lang="en-US" sz="1200" kern="1200" dirty="0">
                <a:solidFill>
                  <a:schemeClr val="tx1"/>
                </a:solidFill>
                <a:effectLst/>
                <a:latin typeface="+mn-lt"/>
                <a:ea typeface="+mn-ea"/>
                <a:cs typeface="+mn-cs"/>
              </a:rPr>
              <a:t>Select the </a:t>
            </a:r>
            <a:r>
              <a:rPr lang="en-US" sz="1200" i="1" kern="1200" dirty="0">
                <a:solidFill>
                  <a:schemeClr val="tx1"/>
                </a:solidFill>
                <a:effectLst/>
                <a:latin typeface="+mn-lt"/>
                <a:ea typeface="+mn-ea"/>
                <a:cs typeface="+mn-cs"/>
              </a:rPr>
              <a:t>Activate this snapshot</a:t>
            </a:r>
            <a:r>
              <a:rPr lang="en-US" sz="1200" kern="1200" dirty="0">
                <a:solidFill>
                  <a:schemeClr val="tx1"/>
                </a:solidFill>
                <a:effectLst/>
                <a:latin typeface="+mn-lt"/>
                <a:ea typeface="+mn-ea"/>
                <a:cs typeface="+mn-cs"/>
              </a:rPr>
              <a:t> option to have ProFile compare any changes you make in the file to this snapshot and click </a:t>
            </a:r>
            <a:r>
              <a:rPr lang="en-US" sz="1200" i="1" kern="1200" dirty="0">
                <a:solidFill>
                  <a:schemeClr val="tx1"/>
                </a:solidFill>
                <a:effectLst/>
                <a:latin typeface="+mn-lt"/>
                <a:ea typeface="+mn-ea"/>
                <a:cs typeface="+mn-cs"/>
              </a:rPr>
              <a:t>OK</a:t>
            </a:r>
          </a:p>
          <a:p>
            <a:pPr lvl="0"/>
            <a:endParaRPr lang="en-US" sz="1200" i="1" kern="1200" dirty="0">
              <a:solidFill>
                <a:schemeClr val="tx1"/>
              </a:solidFill>
              <a:effectLst/>
              <a:latin typeface="+mn-lt"/>
              <a:ea typeface="+mn-ea"/>
              <a:cs typeface="+mn-cs"/>
            </a:endParaRPr>
          </a:p>
          <a:p>
            <a:pPr lvl="0"/>
            <a:r>
              <a:rPr lang="en-US" sz="1200" i="0" kern="1200" dirty="0">
                <a:solidFill>
                  <a:schemeClr val="tx1"/>
                </a:solidFill>
                <a:effectLst/>
                <a:latin typeface="+mn-lt"/>
                <a:ea typeface="+mn-ea"/>
                <a:cs typeface="+mn-cs"/>
              </a:rPr>
              <a:t>Also discuss the Variance</a:t>
            </a:r>
            <a:r>
              <a:rPr lang="en-US" sz="1200" i="0" kern="1200" baseline="0" dirty="0">
                <a:solidFill>
                  <a:schemeClr val="tx1"/>
                </a:solidFill>
                <a:effectLst/>
                <a:latin typeface="+mn-lt"/>
                <a:ea typeface="+mn-ea"/>
                <a:cs typeface="+mn-cs"/>
              </a:rPr>
              <a:t> tab on the Active Auditor </a:t>
            </a:r>
            <a:r>
              <a:rPr lang="mr-IN" sz="1200" i="0" kern="1200" baseline="0" dirty="0">
                <a:solidFill>
                  <a:schemeClr val="tx1"/>
                </a:solidFill>
                <a:effectLst/>
                <a:latin typeface="+mn-lt"/>
                <a:ea typeface="+mn-ea"/>
                <a:cs typeface="+mn-cs"/>
              </a:rPr>
              <a:t>–</a:t>
            </a:r>
            <a:r>
              <a:rPr lang="en-US" sz="1200" i="0" kern="1200" baseline="0" dirty="0">
                <a:solidFill>
                  <a:schemeClr val="tx1"/>
                </a:solidFill>
                <a:effectLst/>
                <a:latin typeface="+mn-lt"/>
                <a:ea typeface="+mn-ea"/>
                <a:cs typeface="+mn-cs"/>
              </a:rPr>
              <a:t> Page 11</a:t>
            </a:r>
          </a:p>
          <a:p>
            <a:pPr lvl="0"/>
            <a:endParaRPr lang="en-US" sz="1200" i="0" kern="1200" baseline="0" dirty="0">
              <a:solidFill>
                <a:schemeClr val="tx1"/>
              </a:solidFill>
              <a:effectLst/>
              <a:latin typeface="+mn-lt"/>
              <a:ea typeface="+mn-ea"/>
              <a:cs typeface="+mn-cs"/>
            </a:endParaRPr>
          </a:p>
          <a:p>
            <a:pPr lvl="0"/>
            <a:r>
              <a:rPr lang="en-US" sz="1200" i="0" kern="1200" baseline="0" dirty="0">
                <a:solidFill>
                  <a:schemeClr val="tx1"/>
                </a:solidFill>
                <a:effectLst/>
                <a:latin typeface="+mn-lt"/>
                <a:ea typeface="+mn-ea"/>
                <a:cs typeface="+mn-cs"/>
              </a:rPr>
              <a:t>And discuss the prior-year variance at Page 12</a:t>
            </a:r>
          </a:p>
          <a:p>
            <a:pPr lvl="0"/>
            <a:endParaRPr lang="en-US" sz="1200" i="0" kern="1200" baseline="0" dirty="0">
              <a:solidFill>
                <a:schemeClr val="tx1"/>
              </a:solidFill>
              <a:effectLst/>
              <a:latin typeface="+mn-lt"/>
              <a:ea typeface="+mn-ea"/>
              <a:cs typeface="+mn-cs"/>
            </a:endParaRPr>
          </a:p>
          <a:p>
            <a:pPr lvl="0"/>
            <a:r>
              <a:rPr lang="en-US" sz="1200" i="0" kern="1200" baseline="0" dirty="0">
                <a:solidFill>
                  <a:schemeClr val="tx1"/>
                </a:solidFill>
                <a:effectLst/>
                <a:latin typeface="+mn-lt"/>
                <a:ea typeface="+mn-ea"/>
                <a:cs typeface="+mn-cs"/>
              </a:rPr>
              <a:t>Finally mention the Variance Threshold setting at Page 15</a:t>
            </a:r>
            <a:endParaRPr lang="en-US" sz="1200" i="0" kern="1200" dirty="0">
              <a:solidFill>
                <a:schemeClr val="tx1"/>
              </a:solidFill>
              <a:effectLst/>
              <a:latin typeface="+mn-lt"/>
              <a:ea typeface="+mn-ea"/>
              <a:cs typeface="+mn-cs"/>
            </a:endParaRPr>
          </a:p>
          <a:p>
            <a:endParaRPr lang="en-CA" baseline="0" dirty="0"/>
          </a:p>
          <a:p>
            <a:endParaRPr lang="en-CA" baseline="0" dirty="0"/>
          </a:p>
          <a:p>
            <a:endParaRPr lang="en-US" baseline="0" dirty="0"/>
          </a:p>
          <a:p>
            <a:endParaRPr lang="en-US" baseline="0" dirty="0"/>
          </a:p>
          <a:p>
            <a:endParaRPr lang="en-US" baseline="0" dirty="0"/>
          </a:p>
          <a:p>
            <a:endParaRPr lang="en-US" baseline="0" dirty="0"/>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1383606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aseline="0" dirty="0"/>
          </a:p>
          <a:p>
            <a:r>
              <a:rPr lang="en-CA" baseline="0" dirty="0"/>
              <a:t>Demo T1PAD </a:t>
            </a:r>
            <a:r>
              <a:rPr lang="mr-IN" baseline="0" dirty="0"/>
              <a:t>–</a:t>
            </a:r>
            <a:r>
              <a:rPr lang="en-CA" baseline="0" dirty="0"/>
              <a:t> </a:t>
            </a:r>
            <a:r>
              <a:rPr lang="en-CA" baseline="0"/>
              <a:t>P 13</a:t>
            </a:r>
            <a:endParaRPr lang="en-CA" baseline="0" dirty="0"/>
          </a:p>
          <a:p>
            <a:endParaRPr lang="en-CA" baseline="0" dirty="0"/>
          </a:p>
          <a:p>
            <a:r>
              <a:rPr lang="en-CA" sz="1200" kern="1200" dirty="0">
                <a:solidFill>
                  <a:schemeClr val="tx1"/>
                </a:solidFill>
                <a:effectLst/>
                <a:latin typeface="+mn-lt"/>
                <a:ea typeface="+mn-ea"/>
                <a:cs typeface="+mn-cs"/>
              </a:rPr>
              <a:t>Pre-authorized debit (PAD) is a secure, online, self-service payment option for individuals and businesses. This option lets you set the payment amount you authorize CRA to withdraw from a Canadian chequing account to pay taxes on a date, or multiple dates.</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Due to the processes that must take place between the CRA and the financial institution, the selected payment date must be at least five business-days from the date your PAD agreement is created or managed.</a:t>
            </a:r>
            <a:r>
              <a:rPr lang="en-US" dirty="0">
                <a:effectLst/>
              </a:rPr>
              <a:t> </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628390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1/24/19</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35"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Section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2"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3"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40460063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612"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5" r:id="rId11"/>
    <p:sldLayoutId id="214748381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8.xml"/><Relationship Id="rId13" Type="http://schemas.openxmlformats.org/officeDocument/2006/relationships/diagramColors" Target="../diagrams/colors9.xml"/><Relationship Id="rId18" Type="http://schemas.openxmlformats.org/officeDocument/2006/relationships/diagramColors" Target="../diagrams/colors10.xml"/><Relationship Id="rId3" Type="http://schemas.openxmlformats.org/officeDocument/2006/relationships/image" Target="../media/image11.png"/><Relationship Id="rId7" Type="http://schemas.openxmlformats.org/officeDocument/2006/relationships/diagramColors" Target="../diagrams/colors8.xml"/><Relationship Id="rId12" Type="http://schemas.openxmlformats.org/officeDocument/2006/relationships/diagramQuickStyle" Target="../diagrams/quickStyle9.xml"/><Relationship Id="rId17" Type="http://schemas.openxmlformats.org/officeDocument/2006/relationships/diagramQuickStyle" Target="../diagrams/quickStyle10.xml"/><Relationship Id="rId2" Type="http://schemas.openxmlformats.org/officeDocument/2006/relationships/notesSlide" Target="../notesSlides/notesSlide8.xml"/><Relationship Id="rId16" Type="http://schemas.openxmlformats.org/officeDocument/2006/relationships/diagramLayout" Target="../diagrams/layout10.xml"/><Relationship Id="rId1" Type="http://schemas.openxmlformats.org/officeDocument/2006/relationships/slideLayout" Target="../slideLayouts/slideLayout1.xml"/><Relationship Id="rId6" Type="http://schemas.openxmlformats.org/officeDocument/2006/relationships/diagramQuickStyle" Target="../diagrams/quickStyle8.xml"/><Relationship Id="rId11" Type="http://schemas.openxmlformats.org/officeDocument/2006/relationships/diagramLayout" Target="../diagrams/layout9.xml"/><Relationship Id="rId5" Type="http://schemas.openxmlformats.org/officeDocument/2006/relationships/diagramLayout" Target="../diagrams/layout8.xml"/><Relationship Id="rId15" Type="http://schemas.openxmlformats.org/officeDocument/2006/relationships/diagramData" Target="../diagrams/data10.xml"/><Relationship Id="rId10" Type="http://schemas.openxmlformats.org/officeDocument/2006/relationships/diagramData" Target="../diagrams/data9.xml"/><Relationship Id="rId19" Type="http://schemas.microsoft.com/office/2007/relationships/diagramDrawing" Target="../diagrams/drawing10.xml"/><Relationship Id="rId4" Type="http://schemas.openxmlformats.org/officeDocument/2006/relationships/diagramData" Target="../diagrams/data8.xml"/><Relationship Id="rId9" Type="http://schemas.openxmlformats.org/officeDocument/2006/relationships/image" Target="../media/image7.emf"/><Relationship Id="rId14" Type="http://schemas.microsoft.com/office/2007/relationships/diagramDrawing" Target="../diagrams/drawing9.xml"/></Relationships>
</file>

<file path=ppt/slides/_rels/slide11.xml.rels><?xml version="1.0" encoding="UTF-8" standalone="yes"?>
<Relationships xmlns="http://schemas.openxmlformats.org/package/2006/relationships"><Relationship Id="rId8" Type="http://schemas.microsoft.com/office/2007/relationships/diagramDrawing" Target="../diagrams/drawing11.xml"/><Relationship Id="rId13" Type="http://schemas.openxmlformats.org/officeDocument/2006/relationships/diagramColors" Target="../diagrams/colors12.xml"/><Relationship Id="rId3" Type="http://schemas.openxmlformats.org/officeDocument/2006/relationships/image" Target="../media/image12.png"/><Relationship Id="rId7" Type="http://schemas.openxmlformats.org/officeDocument/2006/relationships/diagramColors" Target="../diagrams/colors11.xml"/><Relationship Id="rId12" Type="http://schemas.openxmlformats.org/officeDocument/2006/relationships/diagramQuickStyle" Target="../diagrams/quickStyle12.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QuickStyle" Target="../diagrams/quickStyle11.xml"/><Relationship Id="rId11" Type="http://schemas.openxmlformats.org/officeDocument/2006/relationships/diagramLayout" Target="../diagrams/layout12.xml"/><Relationship Id="rId5" Type="http://schemas.openxmlformats.org/officeDocument/2006/relationships/diagramLayout" Target="../diagrams/layout11.xml"/><Relationship Id="rId10" Type="http://schemas.openxmlformats.org/officeDocument/2006/relationships/diagramData" Target="../diagrams/data12.xml"/><Relationship Id="rId4" Type="http://schemas.openxmlformats.org/officeDocument/2006/relationships/diagramData" Target="../diagrams/data11.xml"/><Relationship Id="rId9" Type="http://schemas.openxmlformats.org/officeDocument/2006/relationships/image" Target="../media/image7.emf"/><Relationship Id="rId14" Type="http://schemas.microsoft.com/office/2007/relationships/diagramDrawing" Target="../diagrams/drawing12.xml"/></Relationships>
</file>

<file path=ppt/slides/_rels/slide12.xml.rels><?xml version="1.0" encoding="UTF-8" standalone="yes"?>
<Relationships xmlns="http://schemas.openxmlformats.org/package/2006/relationships"><Relationship Id="rId8" Type="http://schemas.openxmlformats.org/officeDocument/2006/relationships/image" Target="../media/image7.emf"/><Relationship Id="rId13" Type="http://schemas.microsoft.com/office/2007/relationships/diagramDrawing" Target="../diagrams/drawing14.xml"/><Relationship Id="rId3" Type="http://schemas.openxmlformats.org/officeDocument/2006/relationships/diagramData" Target="../diagrams/data13.xml"/><Relationship Id="rId7" Type="http://schemas.microsoft.com/office/2007/relationships/diagramDrawing" Target="../diagrams/drawing13.xml"/><Relationship Id="rId12" Type="http://schemas.openxmlformats.org/officeDocument/2006/relationships/diagramColors" Target="../diagrams/colors14.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3.xml"/><Relationship Id="rId11" Type="http://schemas.openxmlformats.org/officeDocument/2006/relationships/diagramQuickStyle" Target="../diagrams/quickStyle14.xml"/><Relationship Id="rId5" Type="http://schemas.openxmlformats.org/officeDocument/2006/relationships/diagramQuickStyle" Target="../diagrams/quickStyle13.xml"/><Relationship Id="rId10" Type="http://schemas.openxmlformats.org/officeDocument/2006/relationships/diagramLayout" Target="../diagrams/layout14.xml"/><Relationship Id="rId4" Type="http://schemas.openxmlformats.org/officeDocument/2006/relationships/diagramLayout" Target="../diagrams/layout13.xml"/><Relationship Id="rId9" Type="http://schemas.openxmlformats.org/officeDocument/2006/relationships/diagramData" Target="../diagrams/data14.xml"/><Relationship Id="rId14" Type="http://schemas.openxmlformats.org/officeDocument/2006/relationships/image" Target="../media/image1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7.emf"/><Relationship Id="rId13" Type="http://schemas.microsoft.com/office/2007/relationships/diagramDrawing" Target="../diagrams/drawing3.xm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diagramColors" Target="../diagrams/colors3.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2.xml"/><Relationship Id="rId11" Type="http://schemas.openxmlformats.org/officeDocument/2006/relationships/diagramQuickStyle" Target="../diagrams/quickStyle3.xml"/><Relationship Id="rId5" Type="http://schemas.openxmlformats.org/officeDocument/2006/relationships/diagramQuickStyle" Target="../diagrams/quickStyle2.xml"/><Relationship Id="rId10" Type="http://schemas.openxmlformats.org/officeDocument/2006/relationships/diagramLayout" Target="../diagrams/layout3.xml"/><Relationship Id="rId4" Type="http://schemas.openxmlformats.org/officeDocument/2006/relationships/diagramLayout" Target="../diagrams/layout2.xml"/><Relationship Id="rId9" Type="http://schemas.openxmlformats.org/officeDocument/2006/relationships/diagramData" Target="../diagrams/data3.xml"/><Relationship Id="rId1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9.png"/><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image" Target="../media/image10.png"/><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18228" y="1968967"/>
            <a:ext cx="5512443" cy="3410684"/>
          </a:xfrm>
          <a:prstGeom prst="rect">
            <a:avLst/>
          </a:prstGeom>
        </p:spPr>
      </p:pic>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a:t>variance</a:t>
            </a:r>
            <a:endParaRPr lang="en-CA" dirty="0"/>
          </a:p>
        </p:txBody>
      </p:sp>
      <p:graphicFrame>
        <p:nvGraphicFramePr>
          <p:cNvPr id="9" name="Diagram 8"/>
          <p:cNvGraphicFramePr/>
          <p:nvPr>
            <p:extLst>
              <p:ext uri="{D42A27DB-BD31-4B8C-83A1-F6EECF244321}">
                <p14:modId xmlns:p14="http://schemas.microsoft.com/office/powerpoint/2010/main" val="900434485"/>
              </p:ext>
            </p:extLst>
          </p:nvPr>
        </p:nvGraphicFramePr>
        <p:xfrm>
          <a:off x="5357811" y="2794000"/>
          <a:ext cx="4979303" cy="26402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79EECFDE-9003-4CC7-9C8C-F329BE4A1891}"/>
              </a:ext>
            </a:extLst>
          </p:cNvPr>
          <p:cNvGraphicFramePr/>
          <p:nvPr>
            <p:extLst>
              <p:ext uri="{D42A27DB-BD31-4B8C-83A1-F6EECF244321}">
                <p14:modId xmlns:p14="http://schemas.microsoft.com/office/powerpoint/2010/main" val="1744075336"/>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1" name="Diagram 10"/>
          <p:cNvGraphicFramePr/>
          <p:nvPr>
            <p:extLst>
              <p:ext uri="{D42A27DB-BD31-4B8C-83A1-F6EECF244321}">
                <p14:modId xmlns:p14="http://schemas.microsoft.com/office/powerpoint/2010/main" val="1772562746"/>
              </p:ext>
            </p:extLst>
          </p:nvPr>
        </p:nvGraphicFramePr>
        <p:xfrm>
          <a:off x="5501983" y="1531045"/>
          <a:ext cx="4690958" cy="4761903"/>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extLst>
      <p:ext uri="{BB962C8B-B14F-4D97-AF65-F5344CB8AC3E}">
        <p14:creationId xmlns:p14="http://schemas.microsoft.com/office/powerpoint/2010/main" val="119550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8804CBD-08E6-8B4B-866F-98B31AB87C0C}"/>
              </a:ext>
            </a:extLst>
          </p:cNvPr>
          <p:cNvPicPr>
            <a:picLocks noChangeAspect="1"/>
          </p:cNvPicPr>
          <p:nvPr/>
        </p:nvPicPr>
        <p:blipFill>
          <a:blip r:embed="rId3"/>
          <a:stretch>
            <a:fillRect/>
          </a:stretch>
        </p:blipFill>
        <p:spPr>
          <a:xfrm>
            <a:off x="308919" y="1222356"/>
            <a:ext cx="5964420" cy="4492644"/>
          </a:xfrm>
          <a:prstGeom prst="rect">
            <a:avLst/>
          </a:prstGeom>
        </p:spPr>
      </p:pic>
      <p:sp>
        <p:nvSpPr>
          <p:cNvPr id="4" name="Title 1"/>
          <p:cNvSpPr txBox="1">
            <a:spLocks/>
          </p:cNvSpPr>
          <p:nvPr/>
        </p:nvSpPr>
        <p:spPr>
          <a:xfrm>
            <a:off x="-77788"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ad</a:t>
            </a:r>
          </a:p>
        </p:txBody>
      </p:sp>
      <p:graphicFrame>
        <p:nvGraphicFramePr>
          <p:cNvPr id="9" name="Diagram 8"/>
          <p:cNvGraphicFramePr/>
          <p:nvPr/>
        </p:nvGraphicFramePr>
        <p:xfrm>
          <a:off x="6475411" y="2438400"/>
          <a:ext cx="4979303" cy="26402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79EECFDE-9003-4CC7-9C8C-F329BE4A1891}"/>
              </a:ext>
            </a:extLst>
          </p:cNvPr>
          <p:cNvGraphicFramePr/>
          <p:nvPr>
            <p:extLst>
              <p:ext uri="{D42A27DB-BD31-4B8C-83A1-F6EECF244321}">
                <p14:modId xmlns:p14="http://schemas.microsoft.com/office/powerpoint/2010/main" val="2988988486"/>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18010002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7788"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Express </a:t>
            </a:r>
            <a:r>
              <a:rPr lang="en-CA" dirty="0" err="1"/>
              <a:t>NoA</a:t>
            </a:r>
            <a:endParaRPr lang="en-CA" dirty="0"/>
          </a:p>
        </p:txBody>
      </p:sp>
      <p:graphicFrame>
        <p:nvGraphicFramePr>
          <p:cNvPr id="9" name="Diagram 8"/>
          <p:cNvGraphicFramePr/>
          <p:nvPr>
            <p:extLst>
              <p:ext uri="{D42A27DB-BD31-4B8C-83A1-F6EECF244321}">
                <p14:modId xmlns:p14="http://schemas.microsoft.com/office/powerpoint/2010/main" val="174550361"/>
              </p:ext>
            </p:extLst>
          </p:nvPr>
        </p:nvGraphicFramePr>
        <p:xfrm>
          <a:off x="6475411" y="2438400"/>
          <a:ext cx="4979303" cy="26402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79EECFDE-9003-4CC7-9C8C-F329BE4A1891}"/>
              </a:ext>
            </a:extLst>
          </p:cNvPr>
          <p:cNvGraphicFramePr/>
          <p:nvPr>
            <p:extLst>
              <p:ext uri="{D42A27DB-BD31-4B8C-83A1-F6EECF244321}">
                <p14:modId xmlns:p14="http://schemas.microsoft.com/office/powerpoint/2010/main" val="605499395"/>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0" name="Picture 9">
            <a:extLst>
              <a:ext uri="{FF2B5EF4-FFF2-40B4-BE49-F238E27FC236}">
                <a16:creationId xmlns:a16="http://schemas.microsoft.com/office/drawing/2014/main" id="{4A2503C4-0B07-A444-BE38-8A6663A91F4F}"/>
              </a:ext>
            </a:extLst>
          </p:cNvPr>
          <p:cNvPicPr>
            <a:picLocks noChangeAspect="1"/>
          </p:cNvPicPr>
          <p:nvPr/>
        </p:nvPicPr>
        <p:blipFill>
          <a:blip r:embed="rId14"/>
          <a:stretch>
            <a:fillRect/>
          </a:stretch>
        </p:blipFill>
        <p:spPr>
          <a:xfrm>
            <a:off x="1680519" y="2051209"/>
            <a:ext cx="4204018" cy="3686087"/>
          </a:xfrm>
          <a:prstGeom prst="rect">
            <a:avLst/>
          </a:prstGeom>
        </p:spPr>
      </p:pic>
    </p:spTree>
    <p:extLst>
      <p:ext uri="{BB962C8B-B14F-4D97-AF65-F5344CB8AC3E}">
        <p14:creationId xmlns:p14="http://schemas.microsoft.com/office/powerpoint/2010/main" val="32100269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012" y="2514600"/>
            <a:ext cx="8610600" cy="3349542"/>
          </a:xfrm>
        </p:spPr>
        <p:txBody>
          <a:bodyPr/>
          <a:lstStyle/>
          <a:p>
            <a:r>
              <a:rPr lang="en-US" sz="5400" dirty="0"/>
              <a:t>Chapter 8</a:t>
            </a:r>
            <a:br>
              <a:rPr lang="en-US" sz="5400" dirty="0"/>
            </a:br>
            <a:r>
              <a:rPr lang="en-US" sz="5400" dirty="0"/>
              <a:t>Advanced Features</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9009A76-D8CF-4341-B58A-1D68BFAFA36C}"/>
              </a:ext>
            </a:extLst>
          </p:cNvPr>
          <p:cNvGraphicFramePr/>
          <p:nvPr>
            <p:extLst>
              <p:ext uri="{D42A27DB-BD31-4B8C-83A1-F6EECF244321}">
                <p14:modId xmlns:p14="http://schemas.microsoft.com/office/powerpoint/2010/main" val="1761597074"/>
              </p:ext>
            </p:extLst>
          </p:nvPr>
        </p:nvGraphicFramePr>
        <p:xfrm>
          <a:off x="379412" y="2362200"/>
          <a:ext cx="6019800" cy="3746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emplates</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spTree>
    <p:extLst>
      <p:ext uri="{BB962C8B-B14F-4D97-AF65-F5344CB8AC3E}">
        <p14:creationId xmlns:p14="http://schemas.microsoft.com/office/powerpoint/2010/main" val="292909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file template</a:t>
            </a:r>
          </a:p>
        </p:txBody>
      </p:sp>
      <p:graphicFrame>
        <p:nvGraphicFramePr>
          <p:cNvPr id="9" name="Diagram 8"/>
          <p:cNvGraphicFramePr/>
          <p:nvPr>
            <p:extLst>
              <p:ext uri="{D42A27DB-BD31-4B8C-83A1-F6EECF244321}">
                <p14:modId xmlns:p14="http://schemas.microsoft.com/office/powerpoint/2010/main" val="1365717945"/>
              </p:ext>
            </p:extLst>
          </p:nvPr>
        </p:nvGraphicFramePr>
        <p:xfrm>
          <a:off x="6364793" y="1187345"/>
          <a:ext cx="5122228" cy="38211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A06EC79D-EC79-4A23-A138-AFA1E5F34E84}"/>
              </a:ext>
            </a:extLst>
          </p:cNvPr>
          <p:cNvGraphicFramePr/>
          <p:nvPr>
            <p:extLst>
              <p:ext uri="{D42A27DB-BD31-4B8C-83A1-F6EECF244321}">
                <p14:modId xmlns:p14="http://schemas.microsoft.com/office/powerpoint/2010/main" val="1776320816"/>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3" name="Snagit_SNG81B">
            <a:extLst>
              <a:ext uri="{FF2B5EF4-FFF2-40B4-BE49-F238E27FC236}">
                <a16:creationId xmlns:a16="http://schemas.microsoft.com/office/drawing/2014/main" id="{E4698EE4-E667-4928-A07E-DCB16428727E}"/>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4321" y="1874742"/>
            <a:ext cx="5962956" cy="3340272"/>
          </a:xfrm>
          <a:prstGeom prst="rect">
            <a:avLst/>
          </a:prstGeom>
        </p:spPr>
      </p:pic>
    </p:spTree>
    <p:extLst>
      <p:ext uri="{BB962C8B-B14F-4D97-AF65-F5344CB8AC3E}">
        <p14:creationId xmlns:p14="http://schemas.microsoft.com/office/powerpoint/2010/main" val="314596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HyperDocs</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spTree>
    <p:extLst>
      <p:ext uri="{BB962C8B-B14F-4D97-AF65-F5344CB8AC3E}">
        <p14:creationId xmlns:p14="http://schemas.microsoft.com/office/powerpoint/2010/main" val="449056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6092825" y="2322513"/>
          <a:ext cx="6096000" cy="2362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1">
            <a:extLst>
              <a:ext uri="{FF2B5EF4-FFF2-40B4-BE49-F238E27FC236}">
                <a16:creationId xmlns:a16="http://schemas.microsoft.com/office/drawing/2014/main" id="{47A2A4B2-F31B-4C99-B944-95D4831CF1D8}"/>
              </a:ext>
            </a:extLst>
          </p:cNvPr>
          <p:cNvSpPr txBox="1">
            <a:spLocks/>
          </p:cNvSpPr>
          <p:nvPr/>
        </p:nvSpPr>
        <p:spPr>
          <a:xfrm>
            <a:off x="1" y="5867400"/>
            <a:ext cx="12038012" cy="800100"/>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err="1"/>
              <a:t>hyperdocs</a:t>
            </a:r>
            <a:endParaRPr lang="en-CA" dirty="0"/>
          </a:p>
        </p:txBody>
      </p:sp>
      <p:graphicFrame>
        <p:nvGraphicFramePr>
          <p:cNvPr id="6" name="Diagram 5">
            <a:extLst>
              <a:ext uri="{FF2B5EF4-FFF2-40B4-BE49-F238E27FC236}">
                <a16:creationId xmlns:a16="http://schemas.microsoft.com/office/drawing/2014/main" id="{A06EC79D-EC79-4A23-A138-AFA1E5F34E84}"/>
              </a:ext>
            </a:extLst>
          </p:cNvPr>
          <p:cNvGraphicFramePr/>
          <p:nvPr>
            <p:extLst>
              <p:ext uri="{D42A27DB-BD31-4B8C-83A1-F6EECF244321}">
                <p14:modId xmlns:p14="http://schemas.microsoft.com/office/powerpoint/2010/main" val="920127323"/>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a:extLst>
              <a:ext uri="{FF2B5EF4-FFF2-40B4-BE49-F238E27FC236}">
                <a16:creationId xmlns:a16="http://schemas.microsoft.com/office/drawing/2014/main" id="{60D3000A-493C-1941-9790-0B10B93D1F73}"/>
              </a:ext>
            </a:extLst>
          </p:cNvPr>
          <p:cNvPicPr>
            <a:picLocks noChangeAspect="1"/>
          </p:cNvPicPr>
          <p:nvPr/>
        </p:nvPicPr>
        <p:blipFill>
          <a:blip r:embed="rId13"/>
          <a:stretch>
            <a:fillRect/>
          </a:stretch>
        </p:blipFill>
        <p:spPr>
          <a:xfrm>
            <a:off x="684212" y="910477"/>
            <a:ext cx="6095999" cy="4437853"/>
          </a:xfrm>
          <a:prstGeom prst="rect">
            <a:avLst/>
          </a:prstGeom>
        </p:spPr>
      </p:pic>
    </p:spTree>
    <p:extLst>
      <p:ext uri="{BB962C8B-B14F-4D97-AF65-F5344CB8AC3E}">
        <p14:creationId xmlns:p14="http://schemas.microsoft.com/office/powerpoint/2010/main" val="984195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496742829"/>
              </p:ext>
            </p:extLst>
          </p:nvPr>
        </p:nvGraphicFramePr>
        <p:xfrm>
          <a:off x="5484812" y="1492847"/>
          <a:ext cx="4690958" cy="47619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339B5D1E-A387-462A-81BB-75EFB9E3B1EE}"/>
              </a:ext>
            </a:extLst>
          </p:cNvPr>
          <p:cNvSpPr txBox="1">
            <a:spLocks/>
          </p:cNvSpPr>
          <p:nvPr/>
        </p:nvSpPr>
        <p:spPr>
          <a:xfrm>
            <a:off x="123825" y="6083300"/>
            <a:ext cx="12038012" cy="800100"/>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err="1"/>
              <a:t>hyperdocs</a:t>
            </a:r>
            <a:endParaRPr lang="en-CA" dirty="0"/>
          </a:p>
        </p:txBody>
      </p:sp>
      <p:graphicFrame>
        <p:nvGraphicFramePr>
          <p:cNvPr id="8" name="Diagram 7">
            <a:extLst>
              <a:ext uri="{FF2B5EF4-FFF2-40B4-BE49-F238E27FC236}">
                <a16:creationId xmlns:a16="http://schemas.microsoft.com/office/drawing/2014/main" id="{990A1259-9100-C74A-AFC7-C9BC79368900}"/>
              </a:ext>
            </a:extLst>
          </p:cNvPr>
          <p:cNvGraphicFramePr/>
          <p:nvPr>
            <p:extLst>
              <p:ext uri="{D42A27DB-BD31-4B8C-83A1-F6EECF244321}">
                <p14:modId xmlns:p14="http://schemas.microsoft.com/office/powerpoint/2010/main" val="2465423962"/>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9" name="Picture 8">
            <a:extLst>
              <a:ext uri="{FF2B5EF4-FFF2-40B4-BE49-F238E27FC236}">
                <a16:creationId xmlns:a16="http://schemas.microsoft.com/office/drawing/2014/main" id="{4AA07676-A22C-BD4A-896B-281515055E0C}"/>
              </a:ext>
            </a:extLst>
          </p:cNvPr>
          <p:cNvPicPr>
            <a:picLocks noChangeAspect="1"/>
          </p:cNvPicPr>
          <p:nvPr/>
        </p:nvPicPr>
        <p:blipFill>
          <a:blip r:embed="rId13"/>
          <a:stretch>
            <a:fillRect/>
          </a:stretch>
        </p:blipFill>
        <p:spPr>
          <a:xfrm>
            <a:off x="283269" y="2113102"/>
            <a:ext cx="6561498" cy="3521392"/>
          </a:xfrm>
          <a:prstGeom prst="rect">
            <a:avLst/>
          </a:prstGeom>
        </p:spPr>
      </p:pic>
    </p:spTree>
    <p:extLst>
      <p:ext uri="{BB962C8B-B14F-4D97-AF65-F5344CB8AC3E}">
        <p14:creationId xmlns:p14="http://schemas.microsoft.com/office/powerpoint/2010/main" val="1241090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79613"/>
            <a:ext cx="7085013" cy="2436812"/>
          </a:xfrm>
          <a:prstGeom prst="rect">
            <a:avLst/>
          </a:prstGeom>
        </p:spPr>
        <p:txBody>
          <a:bodyPr/>
          <a:lstStyle/>
          <a:p>
            <a:r>
              <a:rPr lang="en-US" dirty="0"/>
              <a:t>snapshot and variance</a:t>
            </a:r>
          </a:p>
        </p:txBody>
      </p:sp>
    </p:spTree>
    <p:extLst>
      <p:ext uri="{BB962C8B-B14F-4D97-AF65-F5344CB8AC3E}">
        <p14:creationId xmlns:p14="http://schemas.microsoft.com/office/powerpoint/2010/main" val="287885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24</TotalTime>
  <Words>1114</Words>
  <Application>Microsoft Macintosh PowerPoint</Application>
  <PresentationFormat>Custom</PresentationFormat>
  <Paragraphs>129</Paragraphs>
  <Slides>12</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8 Advanced Features</vt:lpstr>
      <vt:lpstr>PowerPoint Presentation</vt:lpstr>
      <vt:lpstr>templates</vt:lpstr>
      <vt:lpstr>PowerPoint Presentation</vt:lpstr>
      <vt:lpstr>HyperDocs</vt:lpstr>
      <vt:lpstr>PowerPoint Presentation</vt:lpstr>
      <vt:lpstr>PowerPoint Presentation</vt:lpstr>
      <vt:lpstr>snapshot and varianc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20</cp:revision>
  <cp:lastPrinted>2017-01-10T23:11:41Z</cp:lastPrinted>
  <dcterms:created xsi:type="dcterms:W3CDTF">2014-09-11T15:23:46Z</dcterms:created>
  <dcterms:modified xsi:type="dcterms:W3CDTF">2019-11-24T21:26:51Z</dcterms:modified>
</cp:coreProperties>
</file>